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charts/chart3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924" r:id="rId4"/>
    <p:sldMasterId id="2147483933" r:id="rId5"/>
  </p:sldMasterIdLst>
  <p:notesMasterIdLst>
    <p:notesMasterId r:id="rId14"/>
  </p:notesMasterIdLst>
  <p:handoutMasterIdLst>
    <p:handoutMasterId r:id="rId15"/>
  </p:handoutMasterIdLst>
  <p:sldIdLst>
    <p:sldId id="299" r:id="rId6"/>
    <p:sldId id="271" r:id="rId7"/>
    <p:sldId id="2147478929" r:id="rId8"/>
    <p:sldId id="269" r:id="rId9"/>
    <p:sldId id="2147478978" r:id="rId10"/>
    <p:sldId id="296" r:id="rId11"/>
    <p:sldId id="2147478976" r:id="rId12"/>
    <p:sldId id="2147478977" r:id="rId13"/>
  </p:sldIdLst>
  <p:sldSz cx="12192000" cy="6858000"/>
  <p:notesSz cx="7102475" cy="9388475"/>
  <p:embeddedFontLst>
    <p:embeddedFont>
      <p:font typeface="Georgia" panose="02040502050405020303" pitchFamily="18" charset="0"/>
      <p:regular r:id="rId16"/>
      <p:bold r:id="rId17"/>
      <p:italic r:id="rId18"/>
      <p:boldItalic r:id="rId19"/>
    </p:embeddedFont>
    <p:embeddedFont>
      <p:font typeface="Segoe UI" panose="020B0502040204020203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42210E16-8D79-8505-F57C-62CAD3E6CDAD}" name="Rowe, Evan" initials="ER" userId="S::Evan.Rowe@ercot.com::d81abe1c-6950-4df8-9373-68ccbd619277" providerId="AD"/>
  <p188:author id="{06F3794A-CC67-56A5-0FBD-5E0FC58AAB14}" name="Springer, Agee" initials="SA" userId="S::agee.springer@ercot.com::c70aae34-03cc-4ca4-9dc9-ab0f1f0f7e1f" providerId="AD"/>
  <p188:author id="{1DC88E50-52D5-C315-B518-599503BB2D2B}" name="Switzer, Christina" initials="SC" userId="S::christina.switzer@ercot.com::718fdc06-d185-42eb-a781-85958c100b82" providerId="AD"/>
  <p188:author id="{43AC947A-768F-141B-B1A1-8E2AE920FF2F}" name="Billo, Jeffrey" initials="JB" userId="S::Jeff.Billo@ercot.com::c105959f-1c3a-49d3-b6c5-5ffb20d67f2e" providerId="AD"/>
  <p188:author id="{681943A9-36B9-8CCE-5BB5-53154F9E201A}" name="Springer, Agee" initials="AS" userId="S::Agee.Springer@ercot.com::c70aae34-03cc-4ca4-9dc9-ab0f1f0f7e1f" providerId="AD"/>
  <p188:author id="{6AED60BC-6DC8-9208-15EC-10DB2B0CE731}" name="Mereness, Matt" initials="MM" userId="S::matt.mereness@ercot.com::6db1126a-164e-4475-8d86-5dde160acd3b" providerId="AD"/>
  <p188:author id="{179AB2E8-70E7-1118-DF7E-04D0F5F4ED90}" name="Marco Casiraghi" initials="MC" userId="S::marco_casiraghi_mckinsey.com#ext#@ercot.onmicrosoft.com::47a73416-6da1-4b96-9a55-b0aeca2869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63"/>
    <a:srgbClr val="00AEC7"/>
    <a:srgbClr val="890C58"/>
    <a:srgbClr val="CCEFF4"/>
    <a:srgbClr val="7C858C"/>
    <a:srgbClr val="FFFFFF"/>
    <a:srgbClr val="FF8200"/>
    <a:srgbClr val="26D07C"/>
    <a:srgbClr val="99DFE9"/>
    <a:srgbClr val="685B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7827529021558872"/>
          <c:w val="0.96452933151432474"/>
          <c:h val="0.698175787728026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9.03814262023217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EF8-4402-A475-9159C8932B19}"/>
                </c:ext>
              </c:extLst>
            </c:dLbl>
            <c:dLbl>
              <c:idx val="1"/>
              <c:layout>
                <c:manualLayout>
                  <c:x val="0"/>
                  <c:y val="-9.03814262023217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EF8-4402-A475-9159C8932B19}"/>
                </c:ext>
              </c:extLst>
            </c:dLbl>
            <c:dLbl>
              <c:idx val="2"/>
              <c:layout>
                <c:manualLayout>
                  <c:x val="0"/>
                  <c:y val="-0.2131011608623548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EF8-4402-A475-9159C8932B19}"/>
                </c:ext>
              </c:extLst>
            </c:dLbl>
            <c:dLbl>
              <c:idx val="3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EF8-4402-A475-9159C8932B19}"/>
                </c:ext>
              </c:extLst>
            </c:dLbl>
            <c:dLbl>
              <c:idx val="4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EF8-4402-A475-9159C8932B19}"/>
                </c:ext>
              </c:extLst>
            </c:dLbl>
            <c:dLbl>
              <c:idx val="5"/>
              <c:layout>
                <c:manualLayout>
                  <c:x val="0"/>
                  <c:y val="-0.4046434494195688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EF8-4402-A475-9159C8932B1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EF8-4402-A475-9159C8932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32333632"/>
        <c:axId val="1"/>
      </c:barChart>
      <c:catAx>
        <c:axId val="932333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2333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307017543859649"/>
          <c:w val="0.96452933151432474"/>
          <c:h val="0.738596491228070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DAB-4A2F-AAD0-7FDA9AC59B11}"/>
              </c:ext>
            </c:extLst>
          </c:dPt>
          <c:dLbls>
            <c:dLbl>
              <c:idx val="0"/>
              <c:layout>
                <c:manualLayout>
                  <c:x val="0"/>
                  <c:y val="-9.5614035087719304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DAB-4A2F-AAD0-7FDA9AC59B11}"/>
                </c:ext>
              </c:extLst>
            </c:dLbl>
            <c:dLbl>
              <c:idx val="1"/>
              <c:layout>
                <c:manualLayout>
                  <c:x val="0"/>
                  <c:y val="-9.5614035087719304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DAB-4A2F-AAD0-7FDA9AC59B11}"/>
                </c:ext>
              </c:extLst>
            </c:dLbl>
            <c:dLbl>
              <c:idx val="2"/>
              <c:layout>
                <c:manualLayout>
                  <c:x val="0"/>
                  <c:y val="-0.2254385964912280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DAB-4A2F-AAD0-7FDA9AC59B11}"/>
                </c:ext>
              </c:extLst>
            </c:dLbl>
            <c:dLbl>
              <c:idx val="3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DAB-4A2F-AAD0-7FDA9AC59B11}"/>
                </c:ext>
              </c:extLst>
            </c:dLbl>
            <c:dLbl>
              <c:idx val="4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DAB-4A2F-AAD0-7FDA9AC59B1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DAB-4A2F-AAD0-7FDA9AC59B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AB-4A2F-AAD0-7FDA9AC59B11}"/>
            </c:ext>
          </c:extLst>
        </c:ser>
        <c:ser>
          <c:idx val="1"/>
          <c:order val="1"/>
          <c:spPr>
            <a:noFill/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5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DAB-4A2F-AAD0-7FDA9AC59B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25592224"/>
        <c:axId val="1"/>
      </c:barChart>
      <c:catAx>
        <c:axId val="1125592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25592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10092283526409E-2"/>
          <c:y val="0.17282958199356913"/>
          <c:w val="0.97957981543294714"/>
          <c:h val="0.7073954983922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B3B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1E0-43B6-BD2C-FBCD7B854C7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1E0-43B6-BD2C-FBCD7B854C7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1E0-43B6-BD2C-FBCD7B854C7E}"/>
              </c:ext>
            </c:extLst>
          </c:dPt>
          <c:dLbls>
            <c:dLbl>
              <c:idx val="0"/>
              <c:layout>
                <c:manualLayout>
                  <c:x val="0"/>
                  <c:y val="-8.9228295819935688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1E0-43B6-BD2C-FBCD7B854C7E}"/>
                </c:ext>
              </c:extLst>
            </c:dLbl>
            <c:dLbl>
              <c:idx val="1"/>
              <c:layout>
                <c:manualLayout>
                  <c:x val="0"/>
                  <c:y val="-0.1599678456591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E0-43B6-BD2C-FBCD7B854C7E}"/>
                </c:ext>
              </c:extLst>
            </c:dLbl>
            <c:dLbl>
              <c:idx val="2"/>
              <c:layout>
                <c:manualLayout>
                  <c:x val="0"/>
                  <c:y val="-0.1599678456591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1E0-43B6-BD2C-FBCD7B854C7E}"/>
                </c:ext>
              </c:extLst>
            </c:dLbl>
            <c:dLbl>
              <c:idx val="3"/>
              <c:layout>
                <c:manualLayout>
                  <c:x val="0"/>
                  <c:y val="-0.2307073954983922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E0-43B6-BD2C-FBCD7B854C7E}"/>
                </c:ext>
              </c:extLst>
            </c:dLbl>
            <c:dLbl>
              <c:idx val="4"/>
              <c:layout>
                <c:manualLayout>
                  <c:x val="0"/>
                  <c:y val="-0.2307073954983922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1E0-43B6-BD2C-FBCD7B854C7E}"/>
                </c:ext>
              </c:extLst>
            </c:dLbl>
            <c:dLbl>
              <c:idx val="5"/>
              <c:layout>
                <c:manualLayout>
                  <c:x val="0"/>
                  <c:y val="-0.40755627009646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E0-43B6-BD2C-FBCD7B854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00</c:v>
                </c:pt>
                <c:pt idx="1">
                  <c:v>300</c:v>
                </c:pt>
                <c:pt idx="2">
                  <c:v>300</c:v>
                </c:pt>
                <c:pt idx="3">
                  <c:v>500</c:v>
                </c:pt>
                <c:pt idx="4">
                  <c:v>5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E0-43B6-BD2C-FBCD7B854C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7679792"/>
        <c:axId val="1"/>
      </c:barChart>
      <c:catAx>
        <c:axId val="676797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6797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44B56-56CA-46C2-B040-170EF07B0E91}" type="datetime3">
              <a:rPr lang="en-US" smtClean="0"/>
              <a:t>24 April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A4FC4A73-EF24-4DBD-BE03-C4CAACADD3D7}" type="datetime3">
              <a:rPr lang="en-US" smtClean="0"/>
              <a:t>24 April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BC86D71-25BE-417A-BE4C-6D6056A8AE53}" type="datetime3">
              <a:rPr lang="en-US" smtClean="0"/>
              <a:t>24 April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4FC4A73-EF24-4DBD-BE03-C4CAACADD3D7}" type="datetime3">
              <a:rPr lang="en-US" smtClean="0"/>
              <a:t>24 April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134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DD1E9-FCA0-BC7D-328B-960A21DB7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730A6-D4F4-DFC3-7CF1-9303FE08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21EA3D-7D59-2E80-1AD6-1FD702349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AD4CC-6496-B7FD-10A3-140C50C317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April 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C604C-0DB2-E9EE-F04E-C73E9C7DC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6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1(defau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D41D71-8915-53EB-36A0-392D41DD0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427363" y="5054600"/>
            <a:ext cx="5201214" cy="1457037"/>
          </a:xfrm>
          <a:prstGeom prst="foldedCorner">
            <a:avLst>
              <a:gd name="adj" fmla="val 21194"/>
            </a:avLst>
          </a:prstGeom>
          <a:solidFill>
            <a:srgbClr val="E6EBF0">
              <a:alpha val="68000"/>
            </a:srgbClr>
          </a:solidFill>
          <a:ln w="9525" cap="rnd">
            <a:noFill/>
          </a:ln>
          <a:effectLst>
            <a:outerShdw blurRad="50800" dist="38100" dir="10800000" sx="1000" sy="1000" algn="r" rotWithShape="0">
              <a:prstClr val="black">
                <a:alpha val="46000"/>
              </a:prstClr>
            </a:outerShdw>
          </a:effectLst>
        </p:spPr>
        <p:txBody>
          <a:bodyPr vert="horz" wrap="square" lIns="274320" tIns="182880" rIns="640080" bIns="18288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400" dirty="0" smtClean="0"/>
            </a:lvl2pPr>
            <a:lvl3pPr marL="548640" indent="-18288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◦"/>
              <a:defRPr lang="en-US" sz="1400" dirty="0"/>
            </a:lvl3pPr>
            <a:lvl4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lang="en-US" sz="1400" dirty="0" smtClean="0"/>
            </a:lvl4pPr>
            <a:lvl5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lang="en-US" sz="1400" dirty="0"/>
            </a:lvl5pPr>
            <a:lvl6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4A302066-7B9E-F90D-A634-1CEEF4EAA7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27365" y="1092200"/>
            <a:ext cx="5201213" cy="2551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400"/>
            </a:lvl2pPr>
            <a:lvl3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/>
            </a:lvl3pPr>
            <a:lvl4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/>
            </a:lvl4pPr>
            <a:lvl5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36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3A0C87A-E909-99E5-543B-B8CA963FA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3EC354D-D331-C418-3300-B354E37BE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981200"/>
            <a:ext cx="5381625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AF89336-B087-2FA3-5FA7-10663E4994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3650" y="1971674"/>
            <a:ext cx="5314950" cy="42107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AFFA6-4F88-DA05-B2CA-9691F408E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1180-8907-F3FB-F8E0-201D1BE6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96C78-7C87-2BC7-8FE9-856E3E375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8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BA45-4981-AC22-EC96-99A5E0901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61962"/>
            <a:ext cx="4838700" cy="1527094"/>
          </a:xfrm>
        </p:spPr>
        <p:txBody>
          <a:bodyPr anchor="t">
            <a:normAutofit/>
          </a:bodyPr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73643-F605-4790-3956-B453E9FC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265AF8-0057-EBA2-2E30-0B7411397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ADE8A-3AB5-3C00-B26E-3F6DD6EA5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81ED5FB-5036-27D9-26F4-B48307D67C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2181225"/>
            <a:ext cx="5600700" cy="4000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0ACB72E-F2A9-AC8B-FAC7-489B47285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7950" y="457200"/>
            <a:ext cx="5200650" cy="5724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91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97228CF-7CDD-26CC-CA47-4AF0A314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838700" cy="12192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77CEE6-13A0-6BA8-8A3C-EA3A8B9CA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2152650"/>
            <a:ext cx="5602224" cy="4019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24E62B-01AB-F5DE-E2D4-85B1DECC9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496050" y="0"/>
            <a:ext cx="569595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33291D-BE72-DBF6-5318-1BD0E712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53288" y="6356350"/>
            <a:ext cx="133871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138100-AC14-9CC0-AD86-426AD89D4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796E23-B521-5C07-85E1-BA73A20DB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A00A7-6A1E-80A0-8EB9-F7F05925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6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B285AF9-0372-9C81-F75D-2589F4F48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7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1CF500-4BD3-92C6-CCBD-156DED65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1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BFBC12E-0B6E-E8C7-9088-B497FB491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1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7750B-0863-BB91-0C67-54B5E9B868D6}"/>
              </a:ext>
            </a:extLst>
          </p:cNvPr>
          <p:cNvSpPr txBox="1"/>
          <p:nvPr userDrawn="1"/>
        </p:nvSpPr>
        <p:spPr>
          <a:xfrm>
            <a:off x="8032876" y="1370524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earn Mo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61C0C-432D-CBAD-EA65-6543DA81C252}"/>
              </a:ext>
            </a:extLst>
          </p:cNvPr>
          <p:cNvSpPr txBox="1"/>
          <p:nvPr userDrawn="1"/>
        </p:nvSpPr>
        <p:spPr>
          <a:xfrm>
            <a:off x="8054878" y="1783080"/>
            <a:ext cx="332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829B"/>
                </a:solidFill>
              </a:rPr>
              <a:t>www.ercot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781169-74C0-5084-B1E5-21B24E64EBD9}"/>
              </a:ext>
            </a:extLst>
          </p:cNvPr>
          <p:cNvSpPr txBox="1"/>
          <p:nvPr userDrawn="1"/>
        </p:nvSpPr>
        <p:spPr>
          <a:xfrm>
            <a:off x="8032876" y="2442045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ownload ERCOT Mobile App</a:t>
            </a:r>
          </a:p>
        </p:txBody>
      </p:sp>
      <p:pic>
        <p:nvPicPr>
          <p:cNvPr id="9" name="Graphic 8" descr="Google play logo on the left and App Store logo on the right">
            <a:extLst>
              <a:ext uri="{FF2B5EF4-FFF2-40B4-BE49-F238E27FC236}">
                <a16:creationId xmlns:a16="http://schemas.microsoft.com/office/drawing/2014/main" id="{4CC00E98-A942-2688-815D-B898449C0B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341368" y="2987763"/>
            <a:ext cx="2635124" cy="367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BBA5BE-9DD2-6EE7-CE28-D076D6D33E94}"/>
              </a:ext>
            </a:extLst>
          </p:cNvPr>
          <p:cNvSpPr txBox="1"/>
          <p:nvPr userDrawn="1"/>
        </p:nvSpPr>
        <p:spPr>
          <a:xfrm>
            <a:off x="8054878" y="3786789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nect With Us</a:t>
            </a:r>
          </a:p>
        </p:txBody>
      </p:sp>
      <p:pic>
        <p:nvPicPr>
          <p:cNvPr id="11" name="Graphic 10" descr="Instagram icon">
            <a:extLst>
              <a:ext uri="{FF2B5EF4-FFF2-40B4-BE49-F238E27FC236}">
                <a16:creationId xmlns:a16="http://schemas.microsoft.com/office/drawing/2014/main" id="{808F1D0F-170C-B600-9B14-471787DAB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128" y="4359746"/>
            <a:ext cx="314995" cy="3149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EB4558-FE65-DD30-A396-E7A22D6A4264}"/>
              </a:ext>
            </a:extLst>
          </p:cNvPr>
          <p:cNvSpPr txBox="1"/>
          <p:nvPr userDrawn="1"/>
        </p:nvSpPr>
        <p:spPr>
          <a:xfrm>
            <a:off x="8715473" y="4378550"/>
            <a:ext cx="309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facebook.com/ERCOTISO</a:t>
            </a:r>
          </a:p>
        </p:txBody>
      </p:sp>
      <p:pic>
        <p:nvPicPr>
          <p:cNvPr id="13" name="Graphic 12" descr="Twitter or X  icon">
            <a:extLst>
              <a:ext uri="{FF2B5EF4-FFF2-40B4-BE49-F238E27FC236}">
                <a16:creationId xmlns:a16="http://schemas.microsoft.com/office/drawing/2014/main" id="{787C2377-716C-DE29-E499-06278CE1DB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26128" y="4816173"/>
            <a:ext cx="314995" cy="31499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BFB969-D759-088E-D454-9701B3843365}"/>
              </a:ext>
            </a:extLst>
          </p:cNvPr>
          <p:cNvSpPr txBox="1"/>
          <p:nvPr userDrawn="1"/>
        </p:nvSpPr>
        <p:spPr>
          <a:xfrm>
            <a:off x="8715473" y="4823175"/>
            <a:ext cx="210813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x.com/ercot_iso</a:t>
            </a:r>
          </a:p>
        </p:txBody>
      </p:sp>
      <p:pic>
        <p:nvPicPr>
          <p:cNvPr id="15" name="Graphic 14" descr="LinkedIn icon">
            <a:extLst>
              <a:ext uri="{FF2B5EF4-FFF2-40B4-BE49-F238E27FC236}">
                <a16:creationId xmlns:a16="http://schemas.microsoft.com/office/drawing/2014/main" id="{44604974-1959-249D-D54A-C4A63E150B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326128" y="5292078"/>
            <a:ext cx="314995" cy="314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405696A-1EA6-9F4D-1D36-33EB7B0D95CF}"/>
              </a:ext>
            </a:extLst>
          </p:cNvPr>
          <p:cNvSpPr txBox="1"/>
          <p:nvPr userDrawn="1"/>
        </p:nvSpPr>
        <p:spPr>
          <a:xfrm>
            <a:off x="8715473" y="5299080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linkedin.com/company/ercot</a:t>
            </a:r>
          </a:p>
        </p:txBody>
      </p:sp>
      <p:pic>
        <p:nvPicPr>
          <p:cNvPr id="17" name="Graphic 16" descr="Instagram icon">
            <a:extLst>
              <a:ext uri="{FF2B5EF4-FFF2-40B4-BE49-F238E27FC236}">
                <a16:creationId xmlns:a16="http://schemas.microsoft.com/office/drawing/2014/main" id="{253A132C-4DFA-62F1-D25A-9C17628037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6128" y="5773360"/>
            <a:ext cx="314996" cy="31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36F1584-300D-A8F1-CE34-0DF564E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 userDrawn="1"/>
        </p:nvSpPr>
        <p:spPr>
          <a:xfrm>
            <a:off x="8706121" y="5773359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instagram.com/ercot_iso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C754C4F-B602-D803-BB7A-BEE1415C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556513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511CB1D-D7A8-8516-A8D6-FDE88BB37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2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DB85F87-C4AC-5AA2-4395-ABB6B533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2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24951DF-39E3-E4DB-EB22-28C36CEEB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319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ERCOT logo">
            <a:extLst>
              <a:ext uri="{FF2B5EF4-FFF2-40B4-BE49-F238E27FC236}">
                <a16:creationId xmlns:a16="http://schemas.microsoft.com/office/drawing/2014/main" id="{B751E01E-9D1B-AB32-9537-F544F49949E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AB5A33-CD56-3912-4016-20DF30F14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9" y="1430448"/>
            <a:ext cx="4064224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3BE72E-F22F-EA59-A56F-ACBBDAEAF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9" y="3501136"/>
            <a:ext cx="4078434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05AE35-B341-C586-A0DD-9B916DA1D8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825" y="1371600"/>
            <a:ext cx="6581775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 descr="Confidential document label">
            <a:extLst>
              <a:ext uri="{FF2B5EF4-FFF2-40B4-BE49-F238E27FC236}">
                <a16:creationId xmlns:a16="http://schemas.microsoft.com/office/drawing/2014/main" id="{CDD9FF63-9408-EDE4-8E4D-207871A99374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E25432-F52F-28E3-5AF1-36B3BEC45282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B3A409-F400-7551-A8C4-6293E631585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800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F8A40-F0D0-857B-E8A8-1B3161AC4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DC5253-5E42-F62E-EA4E-3AB21BA87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20624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ERCOT logo white on background">
            <a:extLst>
              <a:ext uri="{FF2B5EF4-FFF2-40B4-BE49-F238E27FC236}">
                <a16:creationId xmlns:a16="http://schemas.microsoft.com/office/drawing/2014/main" id="{590365CF-9C80-03DF-D245-DBE4EBA333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1A5353-DA71-B6B2-BDDB-2FB68F1F0909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5802D9-2F73-A263-28E7-486C8A489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41ADA3-F564-E7C2-1972-0F9FF557AE05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7A54B6-1CA8-9AE2-BCA6-21205CB4852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B94DDE-8E3F-CACF-1508-79E6F98F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4920" y="2062263"/>
            <a:ext cx="6316168" cy="3366409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9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C062-513C-DF24-5E8C-7A974D572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400" y="1122363"/>
            <a:ext cx="11125200" cy="2387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2C3F11-2763-0216-A1B0-5E8B4FA80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602038"/>
            <a:ext cx="11125200" cy="1655762"/>
          </a:xfrm>
        </p:spPr>
        <p:txBody>
          <a:bodyPr wrap="square"/>
          <a:lstStyle>
            <a:lvl1pPr marL="0" indent="0" algn="ctr">
              <a:buNone/>
              <a:defRPr sz="2400" b="1">
                <a:solidFill>
                  <a:srgbClr val="00829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C98B8-43D7-C7B4-9956-25AC1BBC5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9BF30-5D82-5572-733E-882E0C0D3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06F4-426A-AD9D-021A-D7E95E349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43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8771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0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6884" y="6356350"/>
            <a:ext cx="277327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3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622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 in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05638A-F774-C6DB-0DC6-A2F6139BC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6482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432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Key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6867525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8CAB249-6E2A-0D66-037F-C8C994EC04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7598003" y="1676400"/>
            <a:ext cx="4060596" cy="3190875"/>
          </a:xfrm>
          <a:prstGeom prst="foldedCorner">
            <a:avLst>
              <a:gd name="adj" fmla="val 8542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b="1" dirty="0"/>
            </a:lvl1pPr>
            <a:lvl2pPr marL="548640" indent="-182880">
              <a:buFont typeface="Arial" panose="020B0604020202020204" pitchFamily="34" charset="0"/>
              <a:buChar char="•"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83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F24F99E-0EFC-4E0E-5FA5-D6E209736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5991225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CB17BE-2CF2-5B69-2FA2-C556C75E78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299" y="1676400"/>
            <a:ext cx="6791325" cy="2609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300" y="4463716"/>
            <a:ext cx="6800850" cy="1744579"/>
          </a:xfrm>
          <a:prstGeom prst="foldedCorner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D5F82-2DE8-D31E-AE3D-018BD935DE3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77201" y="533400"/>
            <a:ext cx="3581400" cy="5638799"/>
          </a:xfrm>
        </p:spPr>
        <p:txBody>
          <a:bodyPr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1" y="6356350"/>
            <a:ext cx="6762749" cy="365125"/>
          </a:xfrm>
        </p:spPr>
        <p:txBody>
          <a:bodyPr wrap="square" lIns="0"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5086D0-23A2-1C6B-A4BF-B6E909DA9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63300" cy="2619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4463716"/>
            <a:ext cx="11163298" cy="1744579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5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92637-50E4-DD4B-56F0-CFBBD52C7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4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92637-50E4-DD4B-56F0-CFBBD52C7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A1678F26-9E3A-1EC0-39CE-8DC562CAF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3DA6C0-622C-56B9-A11A-C7B46D6B1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ERCOT logo white on background">
            <a:extLst>
              <a:ext uri="{FF2B5EF4-FFF2-40B4-BE49-F238E27FC236}">
                <a16:creationId xmlns:a16="http://schemas.microsoft.com/office/drawing/2014/main" id="{24916EE6-D8BD-2246-322B-E4425F0F9A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DC1132D-9952-07F0-B506-0AC57F014644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E356D3-1829-BA32-62D3-D6BBF887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9F1A3B-7D9E-6E0C-224F-7FFACD1B9397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2CD704-9BA3-CCE0-2685-8FBAA5974224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4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0E188F-7C9B-28D4-86A5-D56573E7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391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0E188F-7C9B-28D4-86A5-D56573E7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23ED7C-25D4-4004-0ADC-2942F5EF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706252"/>
            <a:ext cx="11125201" cy="44707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CF572-2776-A000-A27C-E69A8CD2D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16884" y="6356350"/>
            <a:ext cx="27732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71D105-0AFC-E989-21E7-4A7577224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3400" y="6356350"/>
            <a:ext cx="8010526" cy="3651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94E2B-7999-A86B-70B0-0CA8AF3AB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00" y="6356350"/>
            <a:ext cx="533400" cy="3651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fld id="{BCDE79FB-97BA-492B-8D57-F1373F9ADA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Graphic 22" descr="ERCOT logo">
            <a:extLst>
              <a:ext uri="{FF2B5EF4-FFF2-40B4-BE49-F238E27FC236}">
                <a16:creationId xmlns:a16="http://schemas.microsoft.com/office/drawing/2014/main" id="{860966C1-7702-678E-6F8A-91940323E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grpSp>
        <p:nvGrpSpPr>
          <p:cNvPr id="7" name="Group 6" descr="Confidential document label">
            <a:extLst>
              <a:ext uri="{FF2B5EF4-FFF2-40B4-BE49-F238E27FC236}">
                <a16:creationId xmlns:a16="http://schemas.microsoft.com/office/drawing/2014/main" id="{7CE24704-51D7-2CB8-A1DB-A39B7EEEA928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AAAB4-B1A4-DCFD-AF60-75F135DD9F6D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7F2-C29B-60A9-D309-0B97779BE9DF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581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◦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44">
          <p15:clr>
            <a:srgbClr val="F26B43"/>
          </p15:clr>
        </p15:guide>
        <p15:guide id="3" pos="312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21" Type="http://schemas.openxmlformats.org/officeDocument/2006/relationships/hyperlink" Target="https://www.ercot.com/files/docs/2026/04/23/ERCOT_Batch_Study_Details_ROS_20260423_v2.pptx" TargetMode="Externa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image" Target="../media/image12.emf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49.xml"/><Relationship Id="rId21" Type="http://schemas.openxmlformats.org/officeDocument/2006/relationships/tags" Target="../tags/tag44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63" Type="http://schemas.openxmlformats.org/officeDocument/2006/relationships/tags" Target="../tags/tag86.xml"/><Relationship Id="rId68" Type="http://schemas.openxmlformats.org/officeDocument/2006/relationships/tags" Target="../tags/tag91.xml"/><Relationship Id="rId84" Type="http://schemas.openxmlformats.org/officeDocument/2006/relationships/tags" Target="../tags/tag107.xml"/><Relationship Id="rId89" Type="http://schemas.openxmlformats.org/officeDocument/2006/relationships/tags" Target="../tags/tag112.xml"/><Relationship Id="rId16" Type="http://schemas.openxmlformats.org/officeDocument/2006/relationships/tags" Target="../tags/tag39.xml"/><Relationship Id="rId11" Type="http://schemas.openxmlformats.org/officeDocument/2006/relationships/tags" Target="../tags/tag34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53" Type="http://schemas.openxmlformats.org/officeDocument/2006/relationships/tags" Target="../tags/tag76.xml"/><Relationship Id="rId58" Type="http://schemas.openxmlformats.org/officeDocument/2006/relationships/tags" Target="../tags/tag81.xml"/><Relationship Id="rId74" Type="http://schemas.openxmlformats.org/officeDocument/2006/relationships/tags" Target="../tags/tag97.xml"/><Relationship Id="rId79" Type="http://schemas.openxmlformats.org/officeDocument/2006/relationships/tags" Target="../tags/tag102.xml"/><Relationship Id="rId102" Type="http://schemas.openxmlformats.org/officeDocument/2006/relationships/slideLayout" Target="../slideLayouts/slideLayout9.xml"/><Relationship Id="rId5" Type="http://schemas.openxmlformats.org/officeDocument/2006/relationships/tags" Target="../tags/tag28.xml"/><Relationship Id="rId90" Type="http://schemas.openxmlformats.org/officeDocument/2006/relationships/tags" Target="../tags/tag113.xml"/><Relationship Id="rId95" Type="http://schemas.openxmlformats.org/officeDocument/2006/relationships/tags" Target="../tags/tag118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64" Type="http://schemas.openxmlformats.org/officeDocument/2006/relationships/tags" Target="../tags/tag87.xml"/><Relationship Id="rId69" Type="http://schemas.openxmlformats.org/officeDocument/2006/relationships/tags" Target="../tags/tag92.xml"/><Relationship Id="rId80" Type="http://schemas.openxmlformats.org/officeDocument/2006/relationships/tags" Target="../tags/tag103.xml"/><Relationship Id="rId85" Type="http://schemas.openxmlformats.org/officeDocument/2006/relationships/tags" Target="../tags/tag108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59" Type="http://schemas.openxmlformats.org/officeDocument/2006/relationships/tags" Target="../tags/tag82.xml"/><Relationship Id="rId103" Type="http://schemas.openxmlformats.org/officeDocument/2006/relationships/notesSlide" Target="../notesSlides/notesSlide3.xml"/><Relationship Id="rId20" Type="http://schemas.openxmlformats.org/officeDocument/2006/relationships/tags" Target="../tags/tag43.xml"/><Relationship Id="rId41" Type="http://schemas.openxmlformats.org/officeDocument/2006/relationships/tags" Target="../tags/tag64.xml"/><Relationship Id="rId54" Type="http://schemas.openxmlformats.org/officeDocument/2006/relationships/tags" Target="../tags/tag77.xml"/><Relationship Id="rId62" Type="http://schemas.openxmlformats.org/officeDocument/2006/relationships/tags" Target="../tags/tag85.xml"/><Relationship Id="rId70" Type="http://schemas.openxmlformats.org/officeDocument/2006/relationships/tags" Target="../tags/tag93.xml"/><Relationship Id="rId75" Type="http://schemas.openxmlformats.org/officeDocument/2006/relationships/tags" Target="../tags/tag98.xml"/><Relationship Id="rId83" Type="http://schemas.openxmlformats.org/officeDocument/2006/relationships/tags" Target="../tags/tag106.xml"/><Relationship Id="rId88" Type="http://schemas.openxmlformats.org/officeDocument/2006/relationships/tags" Target="../tags/tag111.xml"/><Relationship Id="rId91" Type="http://schemas.openxmlformats.org/officeDocument/2006/relationships/tags" Target="../tags/tag114.xml"/><Relationship Id="rId96" Type="http://schemas.openxmlformats.org/officeDocument/2006/relationships/tags" Target="../tags/tag119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57" Type="http://schemas.openxmlformats.org/officeDocument/2006/relationships/tags" Target="../tags/tag80.xml"/><Relationship Id="rId10" Type="http://schemas.openxmlformats.org/officeDocument/2006/relationships/tags" Target="../tags/tag33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tags" Target="../tags/tag75.xml"/><Relationship Id="rId60" Type="http://schemas.openxmlformats.org/officeDocument/2006/relationships/tags" Target="../tags/tag83.xml"/><Relationship Id="rId65" Type="http://schemas.openxmlformats.org/officeDocument/2006/relationships/tags" Target="../tags/tag88.xml"/><Relationship Id="rId73" Type="http://schemas.openxmlformats.org/officeDocument/2006/relationships/tags" Target="../tags/tag96.xml"/><Relationship Id="rId78" Type="http://schemas.openxmlformats.org/officeDocument/2006/relationships/tags" Target="../tags/tag101.xml"/><Relationship Id="rId81" Type="http://schemas.openxmlformats.org/officeDocument/2006/relationships/tags" Target="../tags/tag104.xml"/><Relationship Id="rId86" Type="http://schemas.openxmlformats.org/officeDocument/2006/relationships/tags" Target="../tags/tag109.xml"/><Relationship Id="rId94" Type="http://schemas.openxmlformats.org/officeDocument/2006/relationships/tags" Target="../tags/tag117.xml"/><Relationship Id="rId99" Type="http://schemas.openxmlformats.org/officeDocument/2006/relationships/tags" Target="../tags/tag122.xml"/><Relationship Id="rId101" Type="http://schemas.openxmlformats.org/officeDocument/2006/relationships/tags" Target="../tags/tag124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9" Type="http://schemas.openxmlformats.org/officeDocument/2006/relationships/tags" Target="../tags/tag62.xml"/><Relationship Id="rId34" Type="http://schemas.openxmlformats.org/officeDocument/2006/relationships/tags" Target="../tags/tag57.xml"/><Relationship Id="rId50" Type="http://schemas.openxmlformats.org/officeDocument/2006/relationships/tags" Target="../tags/tag73.xml"/><Relationship Id="rId55" Type="http://schemas.openxmlformats.org/officeDocument/2006/relationships/tags" Target="../tags/tag78.xml"/><Relationship Id="rId76" Type="http://schemas.openxmlformats.org/officeDocument/2006/relationships/tags" Target="../tags/tag99.xml"/><Relationship Id="rId97" Type="http://schemas.openxmlformats.org/officeDocument/2006/relationships/tags" Target="../tags/tag120.xml"/><Relationship Id="rId104" Type="http://schemas.openxmlformats.org/officeDocument/2006/relationships/oleObject" Target="../embeddings/oleObject5.bin"/><Relationship Id="rId7" Type="http://schemas.openxmlformats.org/officeDocument/2006/relationships/tags" Target="../tags/tag30.xml"/><Relationship Id="rId71" Type="http://schemas.openxmlformats.org/officeDocument/2006/relationships/tags" Target="../tags/tag94.xml"/><Relationship Id="rId92" Type="http://schemas.openxmlformats.org/officeDocument/2006/relationships/tags" Target="../tags/tag115.xml"/><Relationship Id="rId2" Type="http://schemas.openxmlformats.org/officeDocument/2006/relationships/tags" Target="../tags/tag25.xml"/><Relationship Id="rId29" Type="http://schemas.openxmlformats.org/officeDocument/2006/relationships/tags" Target="../tags/tag52.xml"/><Relationship Id="rId24" Type="http://schemas.openxmlformats.org/officeDocument/2006/relationships/tags" Target="../tags/tag47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66" Type="http://schemas.openxmlformats.org/officeDocument/2006/relationships/tags" Target="../tags/tag89.xml"/><Relationship Id="rId87" Type="http://schemas.openxmlformats.org/officeDocument/2006/relationships/tags" Target="../tags/tag110.xml"/><Relationship Id="rId61" Type="http://schemas.openxmlformats.org/officeDocument/2006/relationships/tags" Target="../tags/tag84.xml"/><Relationship Id="rId82" Type="http://schemas.openxmlformats.org/officeDocument/2006/relationships/tags" Target="../tags/tag105.xml"/><Relationship Id="rId19" Type="http://schemas.openxmlformats.org/officeDocument/2006/relationships/tags" Target="../tags/tag42.xml"/><Relationship Id="rId14" Type="http://schemas.openxmlformats.org/officeDocument/2006/relationships/tags" Target="../tags/tag37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56" Type="http://schemas.openxmlformats.org/officeDocument/2006/relationships/tags" Target="../tags/tag79.xml"/><Relationship Id="rId77" Type="http://schemas.openxmlformats.org/officeDocument/2006/relationships/tags" Target="../tags/tag100.xml"/><Relationship Id="rId100" Type="http://schemas.openxmlformats.org/officeDocument/2006/relationships/tags" Target="../tags/tag123.xml"/><Relationship Id="rId105" Type="http://schemas.openxmlformats.org/officeDocument/2006/relationships/image" Target="../media/image1.emf"/><Relationship Id="rId8" Type="http://schemas.openxmlformats.org/officeDocument/2006/relationships/tags" Target="../tags/tag31.xml"/><Relationship Id="rId51" Type="http://schemas.openxmlformats.org/officeDocument/2006/relationships/tags" Target="../tags/tag74.xml"/><Relationship Id="rId72" Type="http://schemas.openxmlformats.org/officeDocument/2006/relationships/tags" Target="../tags/tag95.xml"/><Relationship Id="rId93" Type="http://schemas.openxmlformats.org/officeDocument/2006/relationships/tags" Target="../tags/tag116.xml"/><Relationship Id="rId98" Type="http://schemas.openxmlformats.org/officeDocument/2006/relationships/tags" Target="../tags/tag121.xml"/><Relationship Id="rId3" Type="http://schemas.openxmlformats.org/officeDocument/2006/relationships/tags" Target="../tags/tag26.xml"/><Relationship Id="rId25" Type="http://schemas.openxmlformats.org/officeDocument/2006/relationships/tags" Target="../tags/tag48.xml"/><Relationship Id="rId46" Type="http://schemas.openxmlformats.org/officeDocument/2006/relationships/tags" Target="../tags/tag69.xml"/><Relationship Id="rId67" Type="http://schemas.openxmlformats.org/officeDocument/2006/relationships/tags" Target="../tags/tag9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rcot.com/files/docs/2026/04/17/145PGRR-45-ERCOT-Comments-041726.docx" TargetMode="External"/><Relationship Id="rId3" Type="http://schemas.openxmlformats.org/officeDocument/2006/relationships/oleObject" Target="../embeddings/oleObject6.bin"/><Relationship Id="rId7" Type="http://schemas.openxmlformats.org/officeDocument/2006/relationships/hyperlink" Target="https://www.ercot.com/files/docs/2026/04/23/145PGRR-53-ERCOT-Comments-042326.docx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5.xml"/><Relationship Id="rId6" Type="http://schemas.openxmlformats.org/officeDocument/2006/relationships/hyperlink" Target="https://www.ercot.com/mktrules/issues/NPRR1325" TargetMode="External"/><Relationship Id="rId5" Type="http://schemas.openxmlformats.org/officeDocument/2006/relationships/hyperlink" Target="https://www.ercot.com/mktrules/issues/PGRR145" TargetMode="Externa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6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7.xml"/><Relationship Id="rId4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3" Type="http://schemas.openxmlformats.org/officeDocument/2006/relationships/tags" Target="../tags/tag130.xml"/><Relationship Id="rId21" Type="http://schemas.openxmlformats.org/officeDocument/2006/relationships/oleObject" Target="../embeddings/oleObject8.bin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chart" Target="../charts/chart2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slideLayout" Target="../slideLayouts/slideLayout13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chart" Target="../charts/chart1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image" Target="../media/image13.svg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image" Target="../media/image13.svg"/><Relationship Id="rId3" Type="http://schemas.openxmlformats.org/officeDocument/2006/relationships/tags" Target="../tags/tag149.xml"/><Relationship Id="rId21" Type="http://schemas.openxmlformats.org/officeDocument/2006/relationships/image" Target="../media/image15.svg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image" Target="../media/image12.emf"/><Relationship Id="rId2" Type="http://schemas.openxmlformats.org/officeDocument/2006/relationships/tags" Target="../tags/tag148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14.svg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156.xml"/><Relationship Id="rId19" Type="http://schemas.openxmlformats.org/officeDocument/2006/relationships/chart" Target="../charts/chart3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CBF3670-63C3-6D42-011E-AC3420A91679}"/>
              </a:ext>
            </a:extLst>
          </p:cNvPr>
          <p:cNvSpPr txBox="1">
            <a:spLocks/>
          </p:cNvSpPr>
          <p:nvPr/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Batch Zero Study Update for LLWG</a:t>
            </a:r>
            <a:endParaRPr lang="en-US" sz="1400" dirty="0"/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4CEF5D44-C951-2D57-C501-548235B57BC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 flipH="1">
            <a:off x="6427363" y="4437743"/>
            <a:ext cx="5455214" cy="2134369"/>
          </a:xfrm>
        </p:spPr>
        <p:txBody>
          <a:bodyPr vert="horz" wrap="square" lIns="274320" tIns="182880" rIns="640080" bIns="182880" anchor="t">
            <a:noAutofit/>
          </a:bodyPr>
          <a:lstStyle/>
          <a:p>
            <a:r>
              <a:rPr lang="en-US" dirty="0">
                <a:cs typeface="Arial"/>
              </a:rPr>
              <a:t>April 24, 2026</a:t>
            </a:r>
          </a:p>
          <a:p>
            <a:r>
              <a:rPr lang="en-US" dirty="0">
                <a:cs typeface="Arial"/>
              </a:rPr>
              <a:t>Matt Mereness</a:t>
            </a:r>
          </a:p>
          <a:p>
            <a:endParaRPr lang="en-US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688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3DEC2-059F-7FD7-85E4-917F6FB9A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1E98D365-1B26-E8B5-6A28-F2D67ED20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4" imgH="403" progId="TCLayout.ActiveDocument.1">
                  <p:embed/>
                </p:oleObj>
              </mc:Choice>
              <mc:Fallback>
                <p:oleObj name="think-cell Slide" r:id="rId19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1E98D365-1B26-E8B5-6A28-F2D67ED20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AA2B72DA-31DA-C6EA-A329-D52700D0732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Agenda from Special ROS Yesterday (</a:t>
            </a:r>
            <a:r>
              <a:rPr lang="en-US" dirty="0">
                <a:hlinkClick r:id="rId21"/>
              </a:rPr>
              <a:t>link</a:t>
            </a:r>
            <a:r>
              <a:rPr lang="en-US" dirty="0"/>
              <a:t> to 70+ slides)</a:t>
            </a:r>
          </a:p>
        </p:txBody>
      </p:sp>
      <p:sp>
        <p:nvSpPr>
          <p:cNvPr id="30" name="Slide Number Placeholder 6">
            <a:extLst>
              <a:ext uri="{FF2B5EF4-FFF2-40B4-BE49-F238E27FC236}">
                <a16:creationId xmlns:a16="http://schemas.microsoft.com/office/drawing/2014/main" id="{E8AFA5AD-DD47-9C83-108E-845F693A5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2</a:t>
            </a:fld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43A5BF2-5F02-0DF7-EDF8-B3E00EF7A189}"/>
              </a:ext>
            </a:extLst>
          </p:cNvPr>
          <p:cNvSpPr>
            <a:spLocks/>
          </p:cNvSpPr>
          <p:nvPr/>
        </p:nvSpPr>
        <p:spPr>
          <a:xfrm>
            <a:off x="499324" y="1223683"/>
            <a:ext cx="11193353" cy="4953252"/>
          </a:xfrm>
          <a:prstGeom prst="rect">
            <a:avLst/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FD0E108-6C75-1BD0-5E30-76F0A752F907}"/>
              </a:ext>
            </a:extLst>
          </p:cNvPr>
          <p:cNvCxnSpPr>
            <a:cxnSpLocks/>
          </p:cNvCxnSpPr>
          <p:nvPr/>
        </p:nvCxnSpPr>
        <p:spPr>
          <a:xfrm>
            <a:off x="554736" y="5409217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3B67745-34B7-944B-EA92-93D216165FB2}"/>
              </a:ext>
            </a:extLst>
          </p:cNvPr>
          <p:cNvGrpSpPr/>
          <p:nvPr/>
        </p:nvGrpSpPr>
        <p:grpSpPr>
          <a:xfrm>
            <a:off x="554736" y="1405361"/>
            <a:ext cx="11082528" cy="553997"/>
            <a:chOff x="554736" y="1405361"/>
            <a:chExt cx="11082528" cy="553997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0B5B6D9F-9565-F78B-68B8-7E639AFAC199}"/>
                </a:ext>
              </a:extLst>
            </p:cNvPr>
            <p:cNvSpPr txBox="1">
              <a:spLocks/>
            </p:cNvSpPr>
            <p:nvPr/>
          </p:nvSpPr>
          <p:spPr>
            <a:xfrm>
              <a:off x="1022758" y="1405361"/>
              <a:ext cx="2655391" cy="5539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buNone/>
                <a:defRPr/>
              </a:pPr>
              <a:r>
                <a:rPr lang="en-US" sz="1800" b="1">
                  <a:solidFill>
                    <a:srgbClr val="000000"/>
                  </a:solidFill>
                </a:rPr>
                <a:t>Timeline and governance recap</a:t>
              </a:r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4268D76-1155-7503-AD58-F5A0FFB1F4C8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3924729" y="1405361"/>
              <a:ext cx="7712535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Update on timeline and key workshop dat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/>
                <a:t>Outline PRS/ROS/TAC pathways to June Board with key submission dates</a:t>
              </a:r>
            </a:p>
          </p:txBody>
        </p:sp>
        <p:sp>
          <p:nvSpPr>
            <p:cNvPr id="103" name="TrackerNumBlue 15">
              <a:extLst>
                <a:ext uri="{FF2B5EF4-FFF2-40B4-BE49-F238E27FC236}">
                  <a16:creationId xmlns:a16="http://schemas.microsoft.com/office/drawing/2014/main" id="{F6AB004F-5D16-64FB-7EC6-557095B4B9FF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554736" y="1405361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B44C216-03F2-D1B1-26F5-D8FCE188F463}"/>
              </a:ext>
            </a:extLst>
          </p:cNvPr>
          <p:cNvGrpSpPr/>
          <p:nvPr/>
        </p:nvGrpSpPr>
        <p:grpSpPr>
          <a:xfrm>
            <a:off x="554736" y="5511744"/>
            <a:ext cx="11082528" cy="492443"/>
            <a:chOff x="554735" y="5511744"/>
            <a:chExt cx="11082528" cy="492443"/>
          </a:xfrm>
        </p:grpSpPr>
        <p:sp>
          <p:nvSpPr>
            <p:cNvPr id="100" name="TrackerNumBlue 15">
              <a:extLst>
                <a:ext uri="{FF2B5EF4-FFF2-40B4-BE49-F238E27FC236}">
                  <a16:creationId xmlns:a16="http://schemas.microsoft.com/office/drawing/2014/main" id="{3AB600B5-43E6-EC3F-A9F0-67B6F28F6A3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554735" y="5511744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7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2A2CAD7-E1FF-AE50-C536-E3ACF2BF4484}"/>
                </a:ext>
              </a:extLst>
            </p:cNvPr>
            <p:cNvGrpSpPr/>
            <p:nvPr/>
          </p:nvGrpSpPr>
          <p:grpSpPr>
            <a:xfrm>
              <a:off x="1022757" y="5511744"/>
              <a:ext cx="10614506" cy="492443"/>
              <a:chOff x="1022758" y="4515214"/>
              <a:chExt cx="10614506" cy="492443"/>
            </a:xfrm>
          </p:grpSpPr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B0E0A186-7D30-A2BF-587C-0EF1157C2A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4515214"/>
                <a:ext cx="2655391" cy="276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lvl="0">
                  <a:buClr>
                    <a:srgbClr val="000000"/>
                  </a:buClr>
                  <a:buNone/>
                  <a:defRPr/>
                </a:pPr>
                <a:r>
                  <a:rPr lang="en-US" sz="1800" b="1"/>
                  <a:t>BYOG discussion</a:t>
                </a:r>
                <a:endParaRPr lang="en-US" sz="18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9BF0990-E1C9-2547-C471-A5495BF98590}"/>
                  </a:ext>
                </a:extLst>
              </p:cNvPr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3924729" y="4515214"/>
                <a:ext cx="7712535" cy="4924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Further discussion of BYOG approach</a:t>
                </a:r>
              </a:p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Advance discussion on BYOG framework for Batch Zero</a:t>
                </a:r>
              </a:p>
            </p:txBody>
          </p:sp>
        </p:grp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BD587A7-2AD3-9449-4F8B-530C04453A52}"/>
              </a:ext>
            </a:extLst>
          </p:cNvPr>
          <p:cNvCxnSpPr>
            <a:cxnSpLocks/>
          </p:cNvCxnSpPr>
          <p:nvPr/>
        </p:nvCxnSpPr>
        <p:spPr>
          <a:xfrm>
            <a:off x="554736" y="4650164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8EAA384-392D-4A27-5D5E-C749F12C494B}"/>
              </a:ext>
            </a:extLst>
          </p:cNvPr>
          <p:cNvGrpSpPr/>
          <p:nvPr/>
        </p:nvGrpSpPr>
        <p:grpSpPr>
          <a:xfrm>
            <a:off x="554736" y="2923468"/>
            <a:ext cx="11082528" cy="330031"/>
            <a:chOff x="554735" y="4952224"/>
            <a:chExt cx="11082528" cy="33003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EBA6D4C-5C3B-1B1D-A184-11F50A4C36DA}"/>
                </a:ext>
              </a:extLst>
            </p:cNvPr>
            <p:cNvGrpSpPr/>
            <p:nvPr/>
          </p:nvGrpSpPr>
          <p:grpSpPr>
            <a:xfrm>
              <a:off x="1022757" y="4978740"/>
              <a:ext cx="10614506" cy="276999"/>
              <a:chOff x="1022758" y="3850891"/>
              <a:chExt cx="10614506" cy="276999"/>
            </a:xfrm>
          </p:grpSpPr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BCB3AA25-4238-B5B1-45D5-2CFEA450C9B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3850891"/>
                <a:ext cx="2655391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Clr>
                    <a:srgbClr val="000000"/>
                  </a:buClr>
                  <a:buNone/>
                  <a:defRPr/>
                </a:pPr>
                <a:r>
                  <a:rPr lang="en-US" sz="1800" b="1">
                    <a:cs typeface="Arial"/>
                  </a:rPr>
                  <a:t>CLR discussion</a:t>
                </a:r>
                <a:endParaRPr lang="en-US" sz="1800" b="1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B29517E-E313-9337-59A6-A2B40D7A22C9}"/>
                  </a:ext>
                </a:extLst>
              </p:cNvPr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3924729" y="3850891"/>
                <a:ext cx="7712535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Review revision language for CLR filed on April 17</a:t>
                </a:r>
              </a:p>
            </p:txBody>
          </p:sp>
        </p:grpSp>
        <p:sp>
          <p:nvSpPr>
            <p:cNvPr id="86" name="TrackerNumBlue 15">
              <a:extLst>
                <a:ext uri="{FF2B5EF4-FFF2-40B4-BE49-F238E27FC236}">
                  <a16:creationId xmlns:a16="http://schemas.microsoft.com/office/drawing/2014/main" id="{FB1D90EC-CB35-DBD6-AA6F-B4A2654C9C3E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54735" y="4952224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F100CAE-C656-D9DC-6FA2-B84F09703688}"/>
              </a:ext>
            </a:extLst>
          </p:cNvPr>
          <p:cNvGrpSpPr/>
          <p:nvPr/>
        </p:nvGrpSpPr>
        <p:grpSpPr>
          <a:xfrm>
            <a:off x="554736" y="4752691"/>
            <a:ext cx="11082528" cy="330031"/>
            <a:chOff x="554736" y="6465733"/>
            <a:chExt cx="11082528" cy="330031"/>
          </a:xfrm>
        </p:grpSpPr>
        <p:sp>
          <p:nvSpPr>
            <p:cNvPr id="95" name="TrackerNumBlue 15">
              <a:extLst>
                <a:ext uri="{FF2B5EF4-FFF2-40B4-BE49-F238E27FC236}">
                  <a16:creationId xmlns:a16="http://schemas.microsoft.com/office/drawing/2014/main" id="{911000FA-8AA7-A5A4-8036-8CDB5AE81B44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554736" y="6465733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6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F6EA2D3-6604-8ACC-7594-A858179796BB}"/>
                </a:ext>
              </a:extLst>
            </p:cNvPr>
            <p:cNvGrpSpPr/>
            <p:nvPr/>
          </p:nvGrpSpPr>
          <p:grpSpPr>
            <a:xfrm>
              <a:off x="1022758" y="6465733"/>
              <a:ext cx="10614506" cy="276999"/>
              <a:chOff x="1022758" y="2074311"/>
              <a:chExt cx="10614506" cy="276999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BAF1A80-1098-EE61-ACD9-BCBB7FCB95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2074311"/>
                <a:ext cx="2655391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lvl="0">
                  <a:buClr>
                    <a:srgbClr val="000000"/>
                  </a:buClr>
                  <a:buNone/>
                  <a:defRPr/>
                </a:pPr>
                <a:r>
                  <a:rPr lang="en-US" sz="1800" b="1">
                    <a:cs typeface="Arial"/>
                  </a:rPr>
                  <a:t>Market Comments filed</a:t>
                </a: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4788450F-EDA4-20C3-C752-E27CB961E1FC}"/>
                  </a:ext>
                </a:extLst>
              </p:cNvPr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3924729" y="2074311"/>
                <a:ext cx="7712535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Review stakeholder comments received</a:t>
                </a:r>
              </a:p>
            </p:txBody>
          </p:sp>
        </p:grp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E2E3FE-0783-9A5A-0F16-968A583EF7C7}"/>
              </a:ext>
            </a:extLst>
          </p:cNvPr>
          <p:cNvCxnSpPr>
            <a:cxnSpLocks/>
          </p:cNvCxnSpPr>
          <p:nvPr/>
        </p:nvCxnSpPr>
        <p:spPr>
          <a:xfrm>
            <a:off x="554736" y="3356026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4E7CF8-3470-952F-AA82-44C23616CDB1}"/>
              </a:ext>
            </a:extLst>
          </p:cNvPr>
          <p:cNvCxnSpPr>
            <a:cxnSpLocks/>
          </p:cNvCxnSpPr>
          <p:nvPr/>
        </p:nvCxnSpPr>
        <p:spPr>
          <a:xfrm>
            <a:off x="554736" y="2061886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20119D5-FDA9-A020-C59B-C5FCFBDAD774}"/>
              </a:ext>
            </a:extLst>
          </p:cNvPr>
          <p:cNvGrpSpPr/>
          <p:nvPr/>
        </p:nvGrpSpPr>
        <p:grpSpPr>
          <a:xfrm>
            <a:off x="554736" y="4217606"/>
            <a:ext cx="11082528" cy="330031"/>
            <a:chOff x="554736" y="3813210"/>
            <a:chExt cx="11082528" cy="330031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8CF60C9-A5DC-BB1D-707D-07947F164BA6}"/>
                </a:ext>
              </a:extLst>
            </p:cNvPr>
            <p:cNvGrpSpPr/>
            <p:nvPr/>
          </p:nvGrpSpPr>
          <p:grpSpPr>
            <a:xfrm>
              <a:off x="1022758" y="3839726"/>
              <a:ext cx="10614506" cy="276999"/>
              <a:chOff x="1022758" y="2430281"/>
              <a:chExt cx="10614506" cy="2769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57D3FBC-FF6C-D162-C297-6F895D0EB4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2430281"/>
                <a:ext cx="2655391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lvl="0">
                  <a:buClr>
                    <a:srgbClr val="000000"/>
                  </a:buClr>
                  <a:buNone/>
                  <a:defRPr/>
                </a:pPr>
                <a:r>
                  <a:rPr lang="en-US" sz="1800" b="1"/>
                  <a:t>Batch Zero Concepts</a:t>
                </a:r>
                <a:endParaRPr lang="en-US" sz="18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C0D5373-0250-C6F0-00D8-5319CEA75228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924729" y="2430281"/>
                <a:ext cx="7712535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Detailed review of Batch Zero Concepts</a:t>
                </a:r>
              </a:p>
            </p:txBody>
          </p:sp>
        </p:grpSp>
        <p:sp>
          <p:nvSpPr>
            <p:cNvPr id="25" name="TrackerNumBlue 15">
              <a:extLst>
                <a:ext uri="{FF2B5EF4-FFF2-40B4-BE49-F238E27FC236}">
                  <a16:creationId xmlns:a16="http://schemas.microsoft.com/office/drawing/2014/main" id="{B936A344-C9DF-925E-4F2C-7F26E317200D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554736" y="3813210"/>
              <a:ext cx="330031" cy="330031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DFFB72-F2CB-036B-B3A6-570027634238}"/>
              </a:ext>
            </a:extLst>
          </p:cNvPr>
          <p:cNvCxnSpPr>
            <a:cxnSpLocks/>
          </p:cNvCxnSpPr>
          <p:nvPr/>
        </p:nvCxnSpPr>
        <p:spPr>
          <a:xfrm>
            <a:off x="554736" y="4115079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76243E5F-7096-07CB-09A5-14B3B2514A4C}"/>
              </a:ext>
            </a:extLst>
          </p:cNvPr>
          <p:cNvGrpSpPr/>
          <p:nvPr/>
        </p:nvGrpSpPr>
        <p:grpSpPr>
          <a:xfrm>
            <a:off x="554736" y="3458553"/>
            <a:ext cx="11082528" cy="553998"/>
            <a:chOff x="554736" y="2854279"/>
            <a:chExt cx="11082528" cy="55399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47F4DBA-3440-9082-5727-4965888A5794}"/>
                </a:ext>
              </a:extLst>
            </p:cNvPr>
            <p:cNvGrpSpPr/>
            <p:nvPr/>
          </p:nvGrpSpPr>
          <p:grpSpPr>
            <a:xfrm>
              <a:off x="1022758" y="2854279"/>
              <a:ext cx="10614506" cy="553998"/>
              <a:chOff x="1022758" y="2074311"/>
              <a:chExt cx="10614506" cy="553998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25BB769-A97A-3B9D-D8E9-8F9E83C7A12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2074311"/>
                <a:ext cx="2655391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lvl="0">
                  <a:buClr>
                    <a:srgbClr val="000000"/>
                  </a:buClr>
                  <a:buNone/>
                  <a:defRPr/>
                </a:pPr>
                <a:r>
                  <a:rPr lang="en-US" sz="1800" b="1">
                    <a:cs typeface="Arial"/>
                  </a:rPr>
                  <a:t>Feedback from PUCT and ERCOT comments</a:t>
                </a: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1587D2AE-C82C-4584-52C3-7558381A1F88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924729" y="2074311"/>
                <a:ext cx="7712535" cy="4924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Review feedback received from PUCT on April 17 Open Meeting</a:t>
                </a:r>
              </a:p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Review updated ERCOT comments to PGRR145 filed on April 23</a:t>
                </a:r>
              </a:p>
            </p:txBody>
          </p:sp>
        </p:grpSp>
        <p:sp>
          <p:nvSpPr>
            <p:cNvPr id="6" name="TrackerNumBlue 15">
              <a:extLst>
                <a:ext uri="{FF2B5EF4-FFF2-40B4-BE49-F238E27FC236}">
                  <a16:creationId xmlns:a16="http://schemas.microsoft.com/office/drawing/2014/main" id="{9170E86F-0A3A-FFD8-6BE3-063A957DF21B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554736" y="2854279"/>
              <a:ext cx="330031" cy="33003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4</a:t>
              </a: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52D0EA-8633-61F1-EDD0-D8EAFEF336CF}"/>
              </a:ext>
            </a:extLst>
          </p:cNvPr>
          <p:cNvCxnSpPr>
            <a:cxnSpLocks/>
          </p:cNvCxnSpPr>
          <p:nvPr/>
        </p:nvCxnSpPr>
        <p:spPr>
          <a:xfrm>
            <a:off x="554736" y="2820940"/>
            <a:ext cx="11082528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6D1613A-1CAC-213C-DE48-A1D4D3100A22}"/>
              </a:ext>
            </a:extLst>
          </p:cNvPr>
          <p:cNvGrpSpPr/>
          <p:nvPr/>
        </p:nvGrpSpPr>
        <p:grpSpPr>
          <a:xfrm>
            <a:off x="554736" y="2164414"/>
            <a:ext cx="11082528" cy="553998"/>
            <a:chOff x="554736" y="2134499"/>
            <a:chExt cx="11082528" cy="553998"/>
          </a:xfrm>
        </p:grpSpPr>
        <p:sp>
          <p:nvSpPr>
            <p:cNvPr id="10" name="TrackerNumBlue 15">
              <a:extLst>
                <a:ext uri="{FF2B5EF4-FFF2-40B4-BE49-F238E27FC236}">
                  <a16:creationId xmlns:a16="http://schemas.microsoft.com/office/drawing/2014/main" id="{8A69991A-A7F6-338D-A6A2-A675629D6CF6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554736" y="2134499"/>
              <a:ext cx="330031" cy="33003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2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C55582E-98A7-F334-75DD-B06B66CDADF3}"/>
                </a:ext>
              </a:extLst>
            </p:cNvPr>
            <p:cNvGrpSpPr/>
            <p:nvPr/>
          </p:nvGrpSpPr>
          <p:grpSpPr>
            <a:xfrm>
              <a:off x="1022758" y="2134499"/>
              <a:ext cx="10614506" cy="553998"/>
              <a:chOff x="1022758" y="2074311"/>
              <a:chExt cx="10614506" cy="553998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E31FD3-B7BD-DB5C-E60C-7458BB33CAE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2758" y="2074311"/>
                <a:ext cx="2655391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lvl="0">
                  <a:buClr>
                    <a:srgbClr val="000000"/>
                  </a:buClr>
                  <a:buNone/>
                  <a:defRPr/>
                </a:pPr>
                <a:r>
                  <a:rPr lang="en-US" sz="1800" b="1">
                    <a:cs typeface="Arial"/>
                  </a:rPr>
                  <a:t>Year 6 allocation approach</a:t>
                </a: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42BACDA-A5B9-7972-868F-767D5ECA6A90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924729" y="2074311"/>
                <a:ext cx="7712535" cy="4924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/>
                  <a:t>Review alternative approach for dealing with year 6 allocation and discuss advantages and disadvantag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7862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12036-13FF-1A84-32F2-BD09A329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2" hidden="1">
            <a:extLst>
              <a:ext uri="{FF2B5EF4-FFF2-40B4-BE49-F238E27FC236}">
                <a16:creationId xmlns:a16="http://schemas.microsoft.com/office/drawing/2014/main" id="{973FDE90-08BA-DEBA-3813-6A1489F24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06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404" imgH="405" progId="TCLayout.ActiveDocument.1">
                  <p:embed/>
                </p:oleObj>
              </mc:Choice>
              <mc:Fallback>
                <p:oleObj name="think-cell Slide" r:id="rId104" imgW="404" imgH="405" progId="TCLayout.ActiveDocument.1">
                  <p:embed/>
                  <p:pic>
                    <p:nvPicPr>
                      <p:cNvPr id="81" name="Object 2" hidden="1">
                        <a:extLst>
                          <a:ext uri="{FF2B5EF4-FFF2-40B4-BE49-F238E27FC236}">
                            <a16:creationId xmlns:a16="http://schemas.microsoft.com/office/drawing/2014/main" id="{973FDE90-08BA-DEBA-3813-6A1489F24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6889DB6-B537-7632-0CCC-A27059729E0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Batch Zero Revision Request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854B94-BECC-A4C9-E338-8CEACB4941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808163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um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763394-FF54-BA59-BA3A-8814665564C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4637907"/>
            <a:ext cx="991186" cy="4619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(Reliability and Operations Subcommittee) 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72846F5B-276E-5312-7E2C-0ED4722399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54688" y="1328738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3E296299-5773-4028-B143-277AD23565B4}" type="datetime'''''''''''2''''''''''''0''''''''2''''''''''''''''6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202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265EA1B3-B751-24E5-F5E2-03CC949E4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54688" y="1565275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DFEC6E0A-2ED5-421E-943A-B062578FE2D4}" type="datetime'''''''Q''''''''''''''''''''''''''''''''1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017A38-BD05-9346-8999-624083E995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72388" y="1565275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BC8CA2D1-FFC0-4DDF-9587-941655033DE4}" type="datetime'''''''''''''''''''''''''''Q''''''''''''''''''''''''''2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AA24822D-0AC3-FC55-9002-DCD045DF0B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629901" y="15652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B7F866B-87F8-469E-B6E1-D29AC806C38E}" type="datetime'''''Q''3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D3BB0573-4186-127D-8ACD-BB116B103E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801813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71B9393D-6391-4641-9468-1060D1B60B23}" type="datetime'''''''''''''''''''''''''''''''''F''''e''''''''b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B7515A1C-546D-EB8B-351A-42F969E251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4325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F2E445D-5811-4845-9588-AA2E924C923D}" type="datetime'''''''''''''''M''''''''''''''''a''''''''''''r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08EF424-2411-97FB-93B2-A570855AD5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2D19FDB-AFEC-4FBA-8013-2B007393C6CD}" type="datetime'''''''''''''''Ap''''''''''''''r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08D3BBF7-295B-BAD0-C781-723E1CC244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47113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498AC88C-4A98-494C-A76D-C80AC574E163}" type="datetime'''''''''''''''M''a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E5697CF2-6CD0-3F71-B215-5AB791B2F6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55175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A12A46E6-6AD6-444C-B063-17AE79DB1410}" type="datetime'''''J''''''''''''''''''''''''''''u''n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CCCCFFA4-B690-A9FE-AC27-F85F822BD9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29900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E757D571-C5D9-441B-A6EC-77E3AA730126}" type="datetime'''''''''''''''''Ju''''''''''l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l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520FFE2-830E-C0BD-A643-35E18D9FCC4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699125" y="1565275"/>
            <a:ext cx="5938838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0797784-949A-C4D2-DF81-84BC30D88DA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699125" y="1801813"/>
            <a:ext cx="1973263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84E69F7-019F-EB84-B9C8-08804178A5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616825" y="1801813"/>
            <a:ext cx="30130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57E3118-80ED-FD56-021F-4C071BCB127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574339" y="1801813"/>
            <a:ext cx="106362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A1B82A1-8D18-481B-3EB2-435FE964AF2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754688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C9A4FEB-DDD3-CCDD-4573-9A94F159C5A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637963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6F99486-BB3C-AB8B-015E-780FA9B65D9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629900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5E787F3C-5324-B2C4-5DCE-DA2A76B3D6B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647113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8DB6E3E-A374-FB84-25ED-3E8E0CAFCE0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6664325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1664CDA-7D85-0678-4A8B-C5B1A018832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672388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9C5E12BD-7C80-A468-F57A-C20FB59F952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754688" y="39862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79A8E9-9B67-3937-4F95-6773C109C2C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54688" y="54467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BF0E3BA-691E-1130-528B-D218CE7B66D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754688" y="51419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3CDE175-316B-848A-A3E5-1164AC5B8FF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754688" y="456406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F3A1F5A-DCE5-9DF9-CE6D-4EB33F552C4E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754688" y="5751513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24697E-BE54-6698-6007-43CE1AEB71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762750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E0C60F5-3402-51C2-53C4-7A4A899060DB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7834313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0D24E7-B479-C3D5-FA5E-BF51F4A9888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965517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8B35A-328A-BA45-4EC3-0B47493806C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102042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9C5E372-FF6B-AB5D-C45B-13BA8192DC01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754688" y="2038350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416B804C-EE13-74AA-B884-FC204FD48C30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093152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47EF1980-F41F-FD99-B332-B518F060FB23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297863" y="461962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52E4641-54AA-376F-D2D1-C094ED0DCA4C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753475" y="4041775"/>
            <a:ext cx="177800" cy="177800"/>
          </a:xfrm>
          <a:prstGeom prst="ellips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87B05CD8-99E1-7FCF-5B03-1169200CA4D8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0057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77EFAC83-9A46-6A0D-A0A8-708246C2C91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339263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FCC1AAC-7A08-E7CB-CC72-5124FC61CD5F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956627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18BF457-9782-E16F-CAD7-1E6C5FE3FF32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26611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75C488C4-95FD-78C4-A07E-5139D8DDAE9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7616825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D4818A42-83F8-B369-328B-DED17E32188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56627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256473A4-EC19-6289-CDD0-9F639EED4624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7745413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E954AB8-EACE-CD42-F2C5-91F5CF6F0083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039100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9FFF94DD-B18A-0A5F-9703-61A941F1184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9487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9FCBBB72-28F4-5747-9FD2-4685534C1DC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518400" y="34623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81F3324-AB8A-55E9-BAEF-A55BED52A0C7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753475" y="4314825"/>
            <a:ext cx="177800" cy="177800"/>
          </a:xfrm>
          <a:prstGeom prst="ellips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A2724280-17A8-00D5-EDAD-404D9E8628FD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6705600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E202DAD-3298-687E-0CF5-89DD45395849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7291388" y="318928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686448A3-DBCB-BE23-9DA9-33AF2993D091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753475" y="4894263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F8120519-E244-0FB7-7116-5645C256E417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84280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17AA1629-CD85-5523-24B9-F65E504E3A4E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6835775" y="29146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229878E0-D7B4-0268-FB07-1752CDDB9EBD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6445250" y="26416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AECEFE-7784-84D9-FDEB-D7237604E212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820102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C4A97F3D-AEC8-D1BC-9CCF-C4A6CC0AA725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6251575" y="23669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0F109413-4C69-ABCF-1144-7A1CA3317CEC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022975" y="209391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F14A997A-3D21-73D7-E42D-A30A27412EB6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7745413" y="37369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A04A9F8D-B962-212F-8A53-C939271E94E6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673850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BFDD1F37-2E02-E91D-24E6-95766830C3D8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90086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5872F154-506F-7B54-CC0A-F419DE872D22}"/>
              </a:ext>
            </a:extLst>
          </p:cNvPr>
          <p:cNvCxnSpPr>
            <a:cxnSpLocks/>
          </p:cNvCxnSpPr>
          <p:nvPr>
            <p:custDataLst>
              <p:tags r:id="rId61"/>
            </p:custDataLst>
          </p:nvPr>
        </p:nvCxnSpPr>
        <p:spPr>
          <a:xfrm>
            <a:off x="554735" y="2038350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F996F348-C75F-0631-98EC-05C2D10EA378}"/>
              </a:ext>
            </a:extLst>
          </p:cNvPr>
          <p:cNvCxnSpPr>
            <a:cxnSpLocks/>
          </p:cNvCxnSpPr>
          <p:nvPr>
            <p:custDataLst>
              <p:tags r:id="rId62"/>
            </p:custDataLst>
          </p:nvPr>
        </p:nvCxnSpPr>
        <p:spPr>
          <a:xfrm>
            <a:off x="554735" y="5751513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035F2AE-F0DF-92EC-B74E-11E5B68E0623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>
          <a:xfrm>
            <a:off x="554736" y="39878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96292BBD-7ADD-9461-8703-21DEBBD67BAB}"/>
              </a:ext>
            </a:extLst>
          </p:cNvPr>
          <p:cNvCxnSpPr>
            <a:cxnSpLocks/>
          </p:cNvCxnSpPr>
          <p:nvPr>
            <p:custDataLst>
              <p:tags r:id="rId64"/>
            </p:custDataLst>
          </p:nvPr>
        </p:nvCxnSpPr>
        <p:spPr>
          <a:xfrm>
            <a:off x="554736" y="4568825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F52B252E-FDCC-9135-0957-95FBA592DF73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6" y="51435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8E3A18BA-8CC9-B26E-4893-752A0C76D2FB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>
          <a:xfrm>
            <a:off x="554736" y="54483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82604F4-CE9E-AC9E-124C-EF95C861E9D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>
          <a:xfrm>
            <a:off x="6232467" y="2066130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5D1F391-AB51-0D73-0817-6DA81AE72B2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>
          <a:xfrm>
            <a:off x="7023099" y="28781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4 Mar 1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6A4834-5CC3-CFA5-A968-B7CE7FAFBCC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>
          <a:xfrm>
            <a:off x="7474813" y="3133725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5 Mar 2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57390CD-4FEA-46D8-D6F0-F0ADE852DE70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>
          <a:xfrm>
            <a:off x="7719270" y="340995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6 Mar 3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918CB3-3104-A324-F079-B129E57822CD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6267886" y="4009232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11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1D2FD71-73ED-E7CF-C2B3-84F0C3949AE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8978787" y="4882717"/>
            <a:ext cx="500062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E21CBC7C-1F40-B920-5A6C-C7F0E97C594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9832975" y="5476875"/>
            <a:ext cx="615682" cy="2460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65B1A-24B2-CBDD-3556-B98E1A633B5B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5453812" y="5799931"/>
            <a:ext cx="1133475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4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files Batch Zero Revision Request(s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10BF5C96-400B-0D51-7AED-3D022F12A5CA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>
          <a:xfrm>
            <a:off x="5753989" y="3128963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EEF955DA-52B4-A7E8-98E8-AC2E7D7B7C6D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>
          <a:xfrm>
            <a:off x="5753989" y="3676650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0B65B8A9-CBCD-C140-497D-E639FCDDAEE3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>
          <a:xfrm>
            <a:off x="5753989" y="3395663"/>
            <a:ext cx="5881079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2F470A34-4534-FC96-5801-5D6F675DF759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>
          <a:xfrm>
            <a:off x="1646233" y="2339975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2C3FDA93-ACA6-9D0A-FA86-360C74A381A5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1646233" y="2603500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FD4E72C3-BC15-EEB7-87D6-C0323359DD87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1646233" y="2865438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E6F9F649-2735-18D8-42BD-E230BBBFF247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1646233" y="42783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71281F45-D45C-DE97-A7E6-57C8F1C1BADE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46233" y="48498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58DCF03B-6A4F-4B1A-5D18-712F8BADE245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>
          <a:xfrm>
            <a:off x="11175026" y="5799931"/>
            <a:ext cx="948844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/10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ffective date of protocols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BE36250B-77A8-1A4C-67A3-79D4793BA739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>
          <a:xfrm>
            <a:off x="1646232" y="5522913"/>
            <a:ext cx="413385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of Batch Zero NPRR 1325 and PGRR 145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AFB365F-A15D-2475-DC3C-672E30200C47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>
          <a:xfrm>
            <a:off x="6469705" y="2348706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LWG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5C0EAAB6-10A0-D5E4-DD7E-D3211531D63B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>
          <a:xfrm>
            <a:off x="6655962" y="26114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B98BD1E-F0B2-AFA9-F460-0F0A39D4696F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9580562" y="5173613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C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E05BCF-DD94-7209-18D7-E490C0F7F478}"/>
              </a:ext>
            </a:extLst>
          </p:cNvPr>
          <p:cNvCxnSpPr>
            <a:cxnSpLocks/>
          </p:cNvCxnSpPr>
          <p:nvPr/>
        </p:nvCxnSpPr>
        <p:spPr>
          <a:xfrm>
            <a:off x="3656398" y="2936875"/>
            <a:ext cx="0" cy="97948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154A6E9-7114-62CE-CE25-643BBBDA6749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8801056" y="5799931"/>
            <a:ext cx="703798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Board approval date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B5E252-4B15-D90D-3859-30FE56EB2E1A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7523842" y="54768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Meeting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37D35A-2E2B-854D-3283-62B57BBFA779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7142164" y="4881923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C132E74-4A82-E2C3-C580-610D8451D619}"/>
              </a:ext>
            </a:extLst>
          </p:cNvPr>
          <p:cNvSpPr>
            <a:spLocks/>
          </p:cNvSpPr>
          <p:nvPr/>
        </p:nvSpPr>
        <p:spPr>
          <a:xfrm>
            <a:off x="6289303" y="5173613"/>
            <a:ext cx="1464226" cy="24606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TAC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6C3999-64BE-8BF4-3FFE-7116F50DFD06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7960404" y="3719513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7 Apr 9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C75651-81EF-089E-7B57-9F0D2711CDCC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8515877" y="401002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9087-F114-FC1E-FEB3-E704F6C90B7D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7777654" y="5173613"/>
            <a:ext cx="642267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TAC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D41E02-1AE8-3960-99B2-92928A346CB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8768139" y="5386388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TAC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9650F8-3E43-23E0-A86C-A3663B06FFD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8962847" y="4300922"/>
            <a:ext cx="647878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S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4B51E2-FABA-9E67-4897-523F70E62662}"/>
              </a:ext>
            </a:extLst>
          </p:cNvPr>
          <p:cNvSpPr/>
          <p:nvPr/>
        </p:nvSpPr>
        <p:spPr>
          <a:xfrm>
            <a:off x="6989913" y="2358231"/>
            <a:ext cx="1674270" cy="22701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LLWG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710E1C8-1991-F9B2-2CE9-28B4BE402186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7067277" y="5994400"/>
            <a:ext cx="153856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ct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7 ERCOT filed comments to PGRR145 and NPRR1325 for CLR, followed by BYOG (TBD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6B598A0-7CB5-F4D1-58C6-0F7E88CB9FD0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7921399" y="4870591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4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CD86FDA-D626-1D66-E988-868FD4E5F44B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6936527" y="4591819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5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171CDE3-7EAA-2F9E-F0B4-CB8E7D654235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8534534" y="4591026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412974-786A-EA88-27F6-C79E7F47F383}"/>
              </a:ext>
            </a:extLst>
          </p:cNvPr>
          <p:cNvSpPr txBox="1">
            <a:spLocks/>
          </p:cNvSpPr>
          <p:nvPr/>
        </p:nvSpPr>
        <p:spPr>
          <a:xfrm>
            <a:off x="554736" y="4056113"/>
            <a:ext cx="99118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S (Protocols Review Subcommittee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8813913-80C1-E6CA-70DF-9B26CC902AED}"/>
              </a:ext>
            </a:extLst>
          </p:cNvPr>
          <p:cNvSpPr txBox="1"/>
          <p:nvPr/>
        </p:nvSpPr>
        <p:spPr>
          <a:xfrm>
            <a:off x="554736" y="2117725"/>
            <a:ext cx="99118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shops and working group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366703-8B5B-AD80-D51B-994ED7BB3B65}"/>
              </a:ext>
            </a:extLst>
          </p:cNvPr>
          <p:cNvSpPr txBox="1"/>
          <p:nvPr/>
        </p:nvSpPr>
        <p:spPr>
          <a:xfrm>
            <a:off x="554736" y="5218956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9CBC33-2A58-A1AA-EF40-A216984B4FA6}"/>
              </a:ext>
            </a:extLst>
          </p:cNvPr>
          <p:cNvSpPr txBox="1"/>
          <p:nvPr/>
        </p:nvSpPr>
        <p:spPr>
          <a:xfrm>
            <a:off x="554736" y="5524500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RCOT Boar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73FB4F2-3239-EABF-4B22-A0AF4A4B017D}"/>
              </a:ext>
            </a:extLst>
          </p:cNvPr>
          <p:cNvSpPr txBox="1"/>
          <p:nvPr/>
        </p:nvSpPr>
        <p:spPr>
          <a:xfrm>
            <a:off x="1646233" y="1808163"/>
            <a:ext cx="402033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bjectiv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D6CB9FA-C90D-6CC8-7A3E-5B4F9708436F}"/>
              </a:ext>
            </a:extLst>
          </p:cNvPr>
          <p:cNvSpPr txBox="1">
            <a:spLocks/>
          </p:cNvSpPr>
          <p:nvPr/>
        </p:nvSpPr>
        <p:spPr>
          <a:xfrm>
            <a:off x="1646232" y="2112218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Align stakeholders on direction/scope following Commission decis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6ADC797-782F-BA8E-6958-C6A12DAC8232}"/>
              </a:ext>
            </a:extLst>
          </p:cNvPr>
          <p:cNvSpPr txBox="1">
            <a:spLocks/>
          </p:cNvSpPr>
          <p:nvPr/>
        </p:nvSpPr>
        <p:spPr>
          <a:xfrm>
            <a:off x="1646232" y="239479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Define the scope, boundaries, and intended role of Batch Zero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118D44-BCEC-8E79-8021-48FEE3D29AF2}"/>
              </a:ext>
            </a:extLst>
          </p:cNvPr>
          <p:cNvSpPr txBox="1">
            <a:spLocks/>
          </p:cNvSpPr>
          <p:nvPr/>
        </p:nvSpPr>
        <p:spPr>
          <a:xfrm>
            <a:off x="1646232" y="4056113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NPRR 1325 for Workshops and PRS review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A7D046-C859-781A-66E4-72C3210D560D}"/>
              </a:ext>
            </a:extLst>
          </p:cNvPr>
          <p:cNvSpPr txBox="1">
            <a:spLocks/>
          </p:cNvSpPr>
          <p:nvPr/>
        </p:nvSpPr>
        <p:spPr>
          <a:xfrm>
            <a:off x="1646232" y="434701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NPRR 1325 for advancement to TAC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17ED016-3843-FDAB-AAD1-0C7F282641DA}"/>
              </a:ext>
            </a:extLst>
          </p:cNvPr>
          <p:cNvSpPr txBox="1">
            <a:spLocks/>
          </p:cNvSpPr>
          <p:nvPr/>
        </p:nvSpPr>
        <p:spPr>
          <a:xfrm>
            <a:off x="1646232" y="4637907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PGRR 145 for Workshops and ROS review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D7E6772-C2E3-AB4D-E831-44E3AAEC30B3}"/>
              </a:ext>
            </a:extLst>
          </p:cNvPr>
          <p:cNvSpPr txBox="1">
            <a:spLocks/>
          </p:cNvSpPr>
          <p:nvPr/>
        </p:nvSpPr>
        <p:spPr>
          <a:xfrm>
            <a:off x="1646232" y="492880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PGRR 145 for advancement to TAC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35A2AF-DC4B-81C3-7D7A-A3C7091B8C25}"/>
              </a:ext>
            </a:extLst>
          </p:cNvPr>
          <p:cNvSpPr txBox="1">
            <a:spLocks/>
          </p:cNvSpPr>
          <p:nvPr/>
        </p:nvSpPr>
        <p:spPr>
          <a:xfrm>
            <a:off x="1646232" y="521970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Review/endorse combined NPRR/PGRR package for Board approva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3409BE-12A7-3792-E732-3BB132D4886C}"/>
              </a:ext>
            </a:extLst>
          </p:cNvPr>
          <p:cNvSpPr txBox="1">
            <a:spLocks/>
          </p:cNvSpPr>
          <p:nvPr/>
        </p:nvSpPr>
        <p:spPr>
          <a:xfrm>
            <a:off x="1646232" y="3157314"/>
            <a:ext cx="4020331" cy="5386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8100" tIns="38100" rIns="38100" bIns="3810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51213C-86F3-F276-1E3F-D5F6E65A8970}"/>
              </a:ext>
            </a:extLst>
          </p:cNvPr>
          <p:cNvSpPr txBox="1">
            <a:spLocks/>
          </p:cNvSpPr>
          <p:nvPr/>
        </p:nvSpPr>
        <p:spPr>
          <a:xfrm>
            <a:off x="1646232" y="2657525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Preview structure/governing concepts of Batch Zero PGRR before fil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B40D9F-90FE-9D34-C17F-07DFA75AA75E}"/>
              </a:ext>
            </a:extLst>
          </p:cNvPr>
          <p:cNvSpPr txBox="1">
            <a:spLocks/>
          </p:cNvSpPr>
          <p:nvPr/>
        </p:nvSpPr>
        <p:spPr>
          <a:xfrm>
            <a:off x="1257300" y="1029336"/>
            <a:ext cx="104013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i="1">
                <a:solidFill>
                  <a:schemeClr val="bg1">
                    <a:lumMod val="50000"/>
                  </a:schemeClr>
                </a:solidFill>
              </a:rPr>
              <a:t>Note that TAC leadership is involved in considering options to ensure successful review and approv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4E64A-A5CA-F72E-9110-2D4508DA4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/>
              <a:t>3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11C5D6-0AB1-42C7-E915-8C52F5431DD9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495299" y="653291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ERCOT discussion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10556E1-9DAC-3420-C886-F21997B67368}"/>
              </a:ext>
            </a:extLst>
          </p:cNvPr>
          <p:cNvSpPr/>
          <p:nvPr/>
        </p:nvSpPr>
        <p:spPr>
          <a:xfrm>
            <a:off x="5753986" y="2038350"/>
            <a:ext cx="2632775" cy="3713162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627AF-EADA-E320-DF72-B27A62637257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7421563" y="4064000"/>
            <a:ext cx="647878" cy="24765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5</a:t>
            </a:r>
          </a:p>
        </p:txBody>
      </p:sp>
    </p:spTree>
    <p:extLst>
      <p:ext uri="{BB962C8B-B14F-4D97-AF65-F5344CB8AC3E}">
        <p14:creationId xmlns:p14="http://schemas.microsoft.com/office/powerpoint/2010/main" val="2492244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F95B5DF-E277-B7EA-A6DB-5185770AC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629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90903-7A57-7019-6BCA-CE1B35F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cs typeface="Arial"/>
              </a:rPr>
              <a:t>Reminder of Scope and Priorities for Batch Zero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9FAAEA-4D82-8948-9250-ECB68E8361D6}"/>
              </a:ext>
            </a:extLst>
          </p:cNvPr>
          <p:cNvSpPr txBox="1"/>
          <p:nvPr/>
        </p:nvSpPr>
        <p:spPr>
          <a:xfrm>
            <a:off x="583025" y="1008065"/>
            <a:ext cx="10781660" cy="537070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cs typeface="Arial"/>
              </a:rPr>
              <a:t>March 4 filings completed for Batch Zero: </a:t>
            </a:r>
            <a:r>
              <a:rPr lang="en-US" sz="1600" dirty="0">
                <a:cs typeface="Arial"/>
              </a:rPr>
              <a:t>ERCOT filed the Batch Zero </a:t>
            </a:r>
            <a:r>
              <a:rPr lang="en-US" sz="1600" dirty="0">
                <a:cs typeface="Arial"/>
                <a:hlinkClick r:id="rId5"/>
              </a:rPr>
              <a:t>PGRR145</a:t>
            </a:r>
            <a:r>
              <a:rPr lang="en-US" sz="1600" dirty="0">
                <a:cs typeface="Arial"/>
              </a:rPr>
              <a:t> and related </a:t>
            </a:r>
            <a:r>
              <a:rPr lang="en-US" sz="1600" dirty="0">
                <a:cs typeface="Arial"/>
                <a:hlinkClick r:id="rId6"/>
              </a:rPr>
              <a:t>NPRR1325</a:t>
            </a:r>
            <a:r>
              <a:rPr lang="en-US" sz="1600" dirty="0">
                <a:cs typeface="Arial"/>
              </a:rPr>
              <a:t> on March 4, initiating the formal governance process and aligning with the May PRS/ROS/TAC sequence and June 1 Board target reflected in the critical path timelin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 dirty="0"/>
              <a:t>March 17 ERCOT comments filed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 dirty="0"/>
              <a:t>April 4 ERCOT comments filed: </a:t>
            </a:r>
            <a:r>
              <a:rPr lang="en-US" sz="1600" dirty="0"/>
              <a:t>incorporated stakeholder feedback (received by March 20), including targeted clarifications and refinement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 dirty="0">
                <a:hlinkClick r:id="rId7"/>
              </a:rPr>
              <a:t>April 23 ERCOT comments filed</a:t>
            </a:r>
            <a:r>
              <a:rPr lang="en-US" sz="1600" b="1" dirty="0"/>
              <a:t>:</a:t>
            </a:r>
            <a:r>
              <a:rPr lang="en-US" sz="1600" dirty="0"/>
              <a:t> updated proposal to align with PUCT April 17 Open Meeting guidance, including a shift to maturity- and commitment-based eligibility criteria, simplification of agreement/financial frameworks, introduction of net metering pathways, and refinements to allocation logic/Batch Zero study design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ERCOT progressing CLR and BYOG design through parallel comment tracks:</a:t>
            </a:r>
            <a:r>
              <a:rPr lang="en-US" sz="1600" dirty="0"/>
              <a:t> Batch Zero comments may include or exclude CLR/BYOG elements, with ERCOT Market Rules managing versioning</a:t>
            </a:r>
            <a:endParaRPr lang="en-US" sz="1600" dirty="0">
              <a:cs typeface="Arial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CLR status:</a:t>
            </a:r>
            <a:r>
              <a:rPr lang="en-US" sz="1600" dirty="0"/>
              <a:t> </a:t>
            </a:r>
            <a:r>
              <a:rPr lang="en-US" sz="1600" dirty="0">
                <a:hlinkClick r:id="rId8"/>
              </a:rPr>
              <a:t>April 17 comments filed</a:t>
            </a:r>
            <a:r>
              <a:rPr lang="en-US" sz="1600" dirty="0"/>
              <a:t>, formally introducing and detailing PCLR framework (e.g., modular construct, operational treatment, linkage to future market implementatio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BYOG Status: </a:t>
            </a:r>
            <a:r>
              <a:rPr lang="en-US" sz="1600" dirty="0"/>
              <a:t>Concepts in progress, targeting filing BYOG comments Friday May 1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b="1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Long-term Batch Process revisions:</a:t>
            </a:r>
            <a:r>
              <a:rPr lang="en-US" sz="1600" dirty="0"/>
              <a:t> out of scope for the current filing but soon after June 1. ERCOT will incorporate lessons learned from Batch Zero to inform future revision requests and the design of a durable, repeatable batch study process</a:t>
            </a:r>
            <a:endParaRPr lang="en-US" sz="1600" dirty="0">
              <a:cs typeface="Arial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A65317-5289-5523-3290-6FB54548E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784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73E4E-076E-6327-F4B7-1F7992CBC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E78587C9-C9CD-4350-2AA3-734FC6E970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0C598F-4E98-419A-0B70-BEF3C4E08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cs typeface="Arial"/>
              </a:rPr>
              <a:t>Main areas of focu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5C9CDC2-FB92-8A38-7DE4-F213BDF6B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5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19F21D-DF06-B5AA-7632-8E84EE966C6A}"/>
              </a:ext>
            </a:extLst>
          </p:cNvPr>
          <p:cNvSpPr/>
          <p:nvPr/>
        </p:nvSpPr>
        <p:spPr>
          <a:xfrm>
            <a:off x="965185" y="1690689"/>
            <a:ext cx="1835924" cy="7838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00" b="1"/>
              <a:t>Year 6 Allocation Approac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1A2604-AD7A-A30A-5F36-EC4406BB98D8}"/>
              </a:ext>
            </a:extLst>
          </p:cNvPr>
          <p:cNvSpPr/>
          <p:nvPr/>
        </p:nvSpPr>
        <p:spPr>
          <a:xfrm>
            <a:off x="965185" y="2654631"/>
            <a:ext cx="1835924" cy="148598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00" b="1"/>
              <a:t>Feedback on April 23 PGRR145 ERCOT comment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449E01-4FC7-0D7E-F1BA-9DB25D43ACA3}"/>
              </a:ext>
            </a:extLst>
          </p:cNvPr>
          <p:cNvSpPr/>
          <p:nvPr/>
        </p:nvSpPr>
        <p:spPr>
          <a:xfrm>
            <a:off x="965185" y="4307979"/>
            <a:ext cx="1835924" cy="52527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00" b="1" dirty="0"/>
              <a:t>PCL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4474FD2-12C9-F3D4-392A-64A0A7F006B7}"/>
              </a:ext>
            </a:extLst>
          </p:cNvPr>
          <p:cNvGrpSpPr>
            <a:grpSpLocks/>
          </p:cNvGrpSpPr>
          <p:nvPr/>
        </p:nvGrpSpPr>
        <p:grpSpPr>
          <a:xfrm>
            <a:off x="965185" y="1307369"/>
            <a:ext cx="1835924" cy="223144"/>
            <a:chOff x="1257300" y="1103811"/>
            <a:chExt cx="4537109" cy="636652"/>
          </a:xfrm>
        </p:grpSpPr>
        <p:sp>
          <p:nvSpPr>
            <p:cNvPr id="28" name="TextBox 62">
              <a:extLst>
                <a:ext uri="{FF2B5EF4-FFF2-40B4-BE49-F238E27FC236}">
                  <a16:creationId xmlns:a16="http://schemas.microsoft.com/office/drawing/2014/main" id="{B3D3CC1F-07C3-D252-37DD-86E4D7C5A192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70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228600" lvl="1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8912" lvl="2" indent="-210312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94360" lvl="3" indent="-15544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3816" lvl="4" indent="-146304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n-US" sz="1300" b="1" dirty="0"/>
                <a:t>Topic </a:t>
              </a:r>
            </a:p>
          </p:txBody>
        </p:sp>
        <p:cxnSp>
          <p:nvCxnSpPr>
            <p:cNvPr id="29" name="LineBasicDefault 292">
              <a:extLst>
                <a:ext uri="{FF2B5EF4-FFF2-40B4-BE49-F238E27FC236}">
                  <a16:creationId xmlns:a16="http://schemas.microsoft.com/office/drawing/2014/main" id="{38744803-80E0-AE44-5755-61228E1986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A783CD-402A-47F6-5350-A716F3EE1E63}"/>
              </a:ext>
            </a:extLst>
          </p:cNvPr>
          <p:cNvGrpSpPr>
            <a:grpSpLocks/>
          </p:cNvGrpSpPr>
          <p:nvPr/>
        </p:nvGrpSpPr>
        <p:grpSpPr>
          <a:xfrm>
            <a:off x="2981030" y="1307369"/>
            <a:ext cx="8364119" cy="223144"/>
            <a:chOff x="1257300" y="1103811"/>
            <a:chExt cx="6976751" cy="636652"/>
          </a:xfrm>
        </p:grpSpPr>
        <p:sp>
          <p:nvSpPr>
            <p:cNvPr id="26" name="TextBox 65">
              <a:extLst>
                <a:ext uri="{FF2B5EF4-FFF2-40B4-BE49-F238E27FC236}">
                  <a16:creationId xmlns:a16="http://schemas.microsoft.com/office/drawing/2014/main" id="{B3F54FC8-EFE5-C2C3-D78A-81F9BBF7DE37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70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228600" lvl="1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8912" lvl="2" indent="-210312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94360" lvl="3" indent="-15544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3816" lvl="4" indent="-146304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10858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n-US" sz="1300" b="1" dirty="0"/>
                <a:t>Summary of stakeholder feedback (from ROS primarily)</a:t>
              </a:r>
            </a:p>
          </p:txBody>
        </p:sp>
        <p:cxnSp>
          <p:nvCxnSpPr>
            <p:cNvPr id="27" name="LineBasicDefault 292">
              <a:extLst>
                <a:ext uri="{FF2B5EF4-FFF2-40B4-BE49-F238E27FC236}">
                  <a16:creationId xmlns:a16="http://schemas.microsoft.com/office/drawing/2014/main" id="{C6587297-9C6B-0D0A-A6AB-9646299146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7300" y="1740463"/>
              <a:ext cx="6976751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F1295D9-65DE-8C47-BD63-4210F5861824}"/>
              </a:ext>
            </a:extLst>
          </p:cNvPr>
          <p:cNvCxnSpPr>
            <a:cxnSpLocks/>
          </p:cNvCxnSpPr>
          <p:nvPr/>
        </p:nvCxnSpPr>
        <p:spPr>
          <a:xfrm>
            <a:off x="965185" y="2590754"/>
            <a:ext cx="10379964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65A09F-C4C3-19E3-ADC3-2618B2861565}"/>
              </a:ext>
            </a:extLst>
          </p:cNvPr>
          <p:cNvCxnSpPr>
            <a:cxnSpLocks/>
          </p:cNvCxnSpPr>
          <p:nvPr/>
        </p:nvCxnSpPr>
        <p:spPr>
          <a:xfrm>
            <a:off x="965185" y="4224299"/>
            <a:ext cx="10379964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86">
            <a:extLst>
              <a:ext uri="{FF2B5EF4-FFF2-40B4-BE49-F238E27FC236}">
                <a16:creationId xmlns:a16="http://schemas.microsoft.com/office/drawing/2014/main" id="{58E7B467-D2D7-D45C-200B-C0F40F06637D}"/>
              </a:ext>
            </a:extLst>
          </p:cNvPr>
          <p:cNvSpPr txBox="1">
            <a:spLocks/>
          </p:cNvSpPr>
          <p:nvPr/>
        </p:nvSpPr>
        <p:spPr>
          <a:xfrm>
            <a:off x="2981029" y="1720435"/>
            <a:ext cx="6587513" cy="75405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b="1" dirty="0"/>
              <a:t>Introduced new/third option yesterday for Batch Transmission Planning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b="1" dirty="0"/>
              <a:t>More on next group of slide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9" name="TextBox 87">
            <a:extLst>
              <a:ext uri="{FF2B5EF4-FFF2-40B4-BE49-F238E27FC236}">
                <a16:creationId xmlns:a16="http://schemas.microsoft.com/office/drawing/2014/main" id="{C76C90E0-0CE1-D5FD-E7F2-9281A84EDC59}"/>
              </a:ext>
            </a:extLst>
          </p:cNvPr>
          <p:cNvSpPr txBox="1">
            <a:spLocks/>
          </p:cNvSpPr>
          <p:nvPr/>
        </p:nvSpPr>
        <p:spPr>
          <a:xfrm>
            <a:off x="2981029" y="2654631"/>
            <a:ext cx="6892313" cy="144655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Concerns raised on power supply contract timing requirement </a:t>
            </a:r>
            <a:r>
              <a:rPr lang="en-US" sz="1400" dirty="0"/>
              <a:t>(circular dependency between baseload status and tenant commitment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Concerns raised on financial security clarity </a:t>
            </a:r>
            <a:r>
              <a:rPr lang="en-US" sz="1400" dirty="0"/>
              <a:t>(refundability, implementation, consistency with existing agreement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Concerns with RPG inclusion</a:t>
            </a:r>
            <a:r>
              <a:rPr lang="en-US" sz="1400" dirty="0"/>
              <a:t>, with stakeholders requesting broader set of projects compared to current proposal</a:t>
            </a:r>
            <a:endParaRPr lang="en-US" sz="1300" dirty="0"/>
          </a:p>
        </p:txBody>
      </p:sp>
      <p:sp>
        <p:nvSpPr>
          <p:cNvPr id="20" name="TextBox 88">
            <a:extLst>
              <a:ext uri="{FF2B5EF4-FFF2-40B4-BE49-F238E27FC236}">
                <a16:creationId xmlns:a16="http://schemas.microsoft.com/office/drawing/2014/main" id="{75B83CB0-F29A-F105-86E5-9203937D8B26}"/>
              </a:ext>
            </a:extLst>
          </p:cNvPr>
          <p:cNvSpPr txBox="1">
            <a:spLocks/>
          </p:cNvSpPr>
          <p:nvPr/>
        </p:nvSpPr>
        <p:spPr>
          <a:xfrm>
            <a:off x="2981030" y="4307978"/>
            <a:ext cx="6892312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PCLR design seemed well received, awaiting stakeholder feedback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67A2365-96B9-45D6-3741-74452EB78D68}"/>
              </a:ext>
            </a:extLst>
          </p:cNvPr>
          <p:cNvSpPr/>
          <p:nvPr/>
        </p:nvSpPr>
        <p:spPr>
          <a:xfrm>
            <a:off x="976070" y="5004663"/>
            <a:ext cx="1835924" cy="101565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00" b="1"/>
              <a:t>BYOG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9E5E8AA5-FE12-BE2D-AE08-648F26814243}"/>
              </a:ext>
            </a:extLst>
          </p:cNvPr>
          <p:cNvCxnSpPr>
            <a:cxnSpLocks/>
          </p:cNvCxnSpPr>
          <p:nvPr/>
        </p:nvCxnSpPr>
        <p:spPr>
          <a:xfrm>
            <a:off x="976070" y="4920984"/>
            <a:ext cx="10379964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88">
            <a:extLst>
              <a:ext uri="{FF2B5EF4-FFF2-40B4-BE49-F238E27FC236}">
                <a16:creationId xmlns:a16="http://schemas.microsoft.com/office/drawing/2014/main" id="{16287FC6-E804-6699-0A09-66C205FB1AC0}"/>
              </a:ext>
            </a:extLst>
          </p:cNvPr>
          <p:cNvSpPr txBox="1">
            <a:spLocks/>
          </p:cNvSpPr>
          <p:nvPr/>
        </p:nvSpPr>
        <p:spPr>
          <a:xfrm>
            <a:off x="2991915" y="5004663"/>
            <a:ext cx="6892312" cy="101566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Framework broadly well receive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Key open questions remain to be addressed </a:t>
            </a:r>
            <a:r>
              <a:rPr lang="en-US" sz="1400" dirty="0"/>
              <a:t>(eligibility, interaction with PUN/SLF constructs, and study requirement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Target comments filing May 1</a:t>
            </a:r>
            <a:endParaRPr lang="en-US" sz="1300" b="1" dirty="0"/>
          </a:p>
        </p:txBody>
      </p:sp>
    </p:spTree>
    <p:extLst>
      <p:ext uri="{BB962C8B-B14F-4D97-AF65-F5344CB8AC3E}">
        <p14:creationId xmlns:p14="http://schemas.microsoft.com/office/powerpoint/2010/main" val="4161852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F2E915-CF72-4990-EEF9-60AC6EE9C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44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2E915-CF72-4990-EEF9-60AC6EE9C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2CAFC1-1129-5830-DF7D-F8B3F218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Year 6 allocation design choice: recap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372D665-EB14-ED0D-8650-05A8AB152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6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AE959D-9059-7F5A-AEBF-00431F78E280}"/>
              </a:ext>
            </a:extLst>
          </p:cNvPr>
          <p:cNvSpPr txBox="1"/>
          <p:nvPr/>
        </p:nvSpPr>
        <p:spPr>
          <a:xfrm>
            <a:off x="1257299" y="1205315"/>
            <a:ext cx="10107385" cy="463203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Year 6 allocation remains a key design challenge for Batch Zero: </a:t>
            </a:r>
            <a:r>
              <a:rPr lang="en-US" sz="1600"/>
              <a:t>process must balance early visibility for developers with alignment to actual transmission readiness, avoiding both over-commitment and lack of certainty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Two main approaches have been considered to date, each with clear trade-off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Current PGRR145 approach:</a:t>
            </a:r>
            <a:r>
              <a:rPr lang="en-US" sz="1600"/>
              <a:t> allocates full MWs by Year 6 upfront, providing clarity but risking a step-change not supported by transmission development timelin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“Rollover” approach:</a:t>
            </a:r>
            <a:r>
              <a:rPr lang="en-US" sz="1600"/>
              <a:t> defers full MW allocation to a subsequent batch, ensuring realism but creating customer uncertainty and requiring commitment without clear visibility on full delivery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A third approach (“bookend” allocation) emerges as a more balanced solution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Description:</a:t>
            </a:r>
            <a:r>
              <a:rPr lang="en-US" sz="1600"/>
              <a:t> focus the study on key years (2, 4, 6) to enable a 6-month Batch Zero while providing a full Year 1–6 capacity trajectory and anchoring Year 6 allocation to identified transmission solution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Enabler:</a:t>
            </a:r>
            <a:r>
              <a:rPr lang="en-US" sz="1600"/>
              <a:t> early TSP involvement to define transmission solutions in parallel with the study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Advantages:</a:t>
            </a:r>
            <a:r>
              <a:rPr lang="en-US" sz="1600"/>
              <a:t> combines customer certainty (clear ramp) with transmission realism, enables an actionable 6-year plan within timeline, and reduces complexity and rework</a:t>
            </a:r>
          </a:p>
        </p:txBody>
      </p:sp>
    </p:spTree>
    <p:extLst>
      <p:ext uri="{BB962C8B-B14F-4D97-AF65-F5344CB8AC3E}">
        <p14:creationId xmlns:p14="http://schemas.microsoft.com/office/powerpoint/2010/main" val="3391475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hink-cell data - do not delete" hidden="1">
            <a:extLst>
              <a:ext uri="{FF2B5EF4-FFF2-40B4-BE49-F238E27FC236}">
                <a16:creationId xmlns:a16="http://schemas.microsoft.com/office/drawing/2014/main" id="{EC2A4E97-3409-8CAE-5092-BB7426261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824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3" progId="TCLayout.ActiveDocument.1">
                  <p:embed/>
                </p:oleObj>
              </mc:Choice>
              <mc:Fallback>
                <p:oleObj name="think-cell Slide" r:id="rId21" imgW="404" imgH="403" progId="TCLayout.ActiveDocument.1">
                  <p:embed/>
                  <p:pic>
                    <p:nvPicPr>
                      <p:cNvPr id="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2A4E97-3409-8CAE-5092-BB7426261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16D1D6-9D88-9B85-2A93-81B86B86E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Existing approaches to Year 6 allocation present clear trade-offs between certainty and realism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46D612-6283-D410-C7BF-73F3FA15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7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FD9F4A3-3DD2-028E-09E1-84F529ED5673}"/>
              </a:ext>
            </a:extLst>
          </p:cNvPr>
          <p:cNvGrpSpPr/>
          <p:nvPr/>
        </p:nvGrpSpPr>
        <p:grpSpPr>
          <a:xfrm>
            <a:off x="11011961" y="2045583"/>
            <a:ext cx="510155" cy="494387"/>
            <a:chOff x="11011961" y="2045583"/>
            <a:chExt cx="510155" cy="494387"/>
          </a:xfrm>
          <a:solidFill>
            <a:schemeClr val="bg1">
              <a:lumMod val="75000"/>
            </a:schemeClr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7CF5035-970B-0475-5094-2049D9C759D6}"/>
                </a:ext>
              </a:extLst>
            </p:cNvPr>
            <p:cNvSpPr/>
            <p:nvPr/>
          </p:nvSpPr>
          <p:spPr>
            <a:xfrm>
              <a:off x="11011961" y="204558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4BC715-C6A8-5941-0F6C-5A449289F83E}"/>
                </a:ext>
              </a:extLst>
            </p:cNvPr>
            <p:cNvSpPr/>
            <p:nvPr/>
          </p:nvSpPr>
          <p:spPr>
            <a:xfrm>
              <a:off x="11011961" y="208503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0547CCF-109E-F4A9-8148-84AAB779C674}"/>
                </a:ext>
              </a:extLst>
            </p:cNvPr>
            <p:cNvSpPr/>
            <p:nvPr/>
          </p:nvSpPr>
          <p:spPr>
            <a:xfrm>
              <a:off x="11011961" y="2124489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734EAF4-2728-8583-D4DC-650E94FDD43F}"/>
                </a:ext>
              </a:extLst>
            </p:cNvPr>
            <p:cNvSpPr/>
            <p:nvPr/>
          </p:nvSpPr>
          <p:spPr>
            <a:xfrm>
              <a:off x="11011961" y="2203395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3E60C48-08F0-0039-3BC5-73D3AE7AFA19}"/>
                </a:ext>
              </a:extLst>
            </p:cNvPr>
            <p:cNvSpPr/>
            <p:nvPr/>
          </p:nvSpPr>
          <p:spPr>
            <a:xfrm>
              <a:off x="11011961" y="2163942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39C64D6-FC3B-6EF7-7EAF-1E45C463F7DC}"/>
                </a:ext>
              </a:extLst>
            </p:cNvPr>
            <p:cNvSpPr/>
            <p:nvPr/>
          </p:nvSpPr>
          <p:spPr>
            <a:xfrm>
              <a:off x="11011961" y="228230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34A25CE-59E8-A028-4358-BD6E2D83DDDF}"/>
                </a:ext>
              </a:extLst>
            </p:cNvPr>
            <p:cNvSpPr/>
            <p:nvPr/>
          </p:nvSpPr>
          <p:spPr>
            <a:xfrm>
              <a:off x="11011961" y="2242848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36CA9F7-496E-39DF-6CD8-CBEA5F74E8CC}"/>
                </a:ext>
              </a:extLst>
            </p:cNvPr>
            <p:cNvSpPr/>
            <p:nvPr/>
          </p:nvSpPr>
          <p:spPr>
            <a:xfrm>
              <a:off x="11011961" y="2321754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5EA526D-7257-6CBE-D5E1-07B088215713}"/>
                </a:ext>
              </a:extLst>
            </p:cNvPr>
            <p:cNvSpPr/>
            <p:nvPr/>
          </p:nvSpPr>
          <p:spPr>
            <a:xfrm>
              <a:off x="11011961" y="2361207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755D1F-8A5A-A831-C0A4-F7C2458C05B4}"/>
                </a:ext>
              </a:extLst>
            </p:cNvPr>
            <p:cNvSpPr/>
            <p:nvPr/>
          </p:nvSpPr>
          <p:spPr>
            <a:xfrm>
              <a:off x="11011961" y="2400660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5E2118-413C-5481-F2BF-79751C0CC9A9}"/>
                </a:ext>
              </a:extLst>
            </p:cNvPr>
            <p:cNvSpPr/>
            <p:nvPr/>
          </p:nvSpPr>
          <p:spPr>
            <a:xfrm>
              <a:off x="11011961" y="244011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2CD037-0AB3-00C7-2F14-A82D6BD693F3}"/>
                </a:ext>
              </a:extLst>
            </p:cNvPr>
            <p:cNvSpPr/>
            <p:nvPr/>
          </p:nvSpPr>
          <p:spPr>
            <a:xfrm>
              <a:off x="11011961" y="247956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702A23B-9DCE-C10C-1680-618015A58A59}"/>
                </a:ext>
              </a:extLst>
            </p:cNvPr>
            <p:cNvSpPr/>
            <p:nvPr/>
          </p:nvSpPr>
          <p:spPr>
            <a:xfrm>
              <a:off x="11011961" y="251902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F171160-2EF0-D6D5-3FD7-55E18F586194}"/>
              </a:ext>
            </a:extLst>
          </p:cNvPr>
          <p:cNvGrpSpPr/>
          <p:nvPr/>
        </p:nvGrpSpPr>
        <p:grpSpPr>
          <a:xfrm>
            <a:off x="2293906" y="1502881"/>
            <a:ext cx="4430248" cy="211979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B46877F-F9E7-B0C6-EFDF-8F116FF30C23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PGRR145 Approach (Current/Option 1)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2BDB97F0-5D27-26B2-D73D-B151A4A319E1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E6D683-78EB-7B53-53A4-B51C47AAF4D2}"/>
              </a:ext>
            </a:extLst>
          </p:cNvPr>
          <p:cNvGrpSpPr/>
          <p:nvPr/>
        </p:nvGrpSpPr>
        <p:grpSpPr>
          <a:xfrm>
            <a:off x="7207016" y="1502874"/>
            <a:ext cx="4430248" cy="211978"/>
            <a:chOff x="1257300" y="1665156"/>
            <a:chExt cx="2802637" cy="25649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18A1C0C-B214-4870-A732-BDB66ADFEC8B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“Rollover” approach to subsequent batch (Option 2)</a:t>
              </a:r>
            </a:p>
          </p:txBody>
        </p:sp>
        <p:cxnSp>
          <p:nvCxnSpPr>
            <p:cNvPr id="23" name="LineBasicDefault 7">
              <a:extLst>
                <a:ext uri="{FF2B5EF4-FFF2-40B4-BE49-F238E27FC236}">
                  <a16:creationId xmlns:a16="http://schemas.microsoft.com/office/drawing/2014/main" id="{85E8D4F1-37C3-7680-CB04-2A52047C8042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2EEB291A-2150-B376-BAB1-169DB0AFB59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54736" y="1123018"/>
            <a:ext cx="312822" cy="3128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DA970CD-B19A-272C-AAFD-70D4DABC2BBE}"/>
              </a:ext>
            </a:extLst>
          </p:cNvPr>
          <p:cNvSpPr txBox="1">
            <a:spLocks/>
          </p:cNvSpPr>
          <p:nvPr/>
        </p:nvSpPr>
        <p:spPr>
          <a:xfrm>
            <a:off x="1025166" y="1171707"/>
            <a:ext cx="696772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Example: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1,000 MW data center requiring full capacity by Year 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C2883D-EF1C-C6FA-E64B-29AF157E35B9}"/>
              </a:ext>
            </a:extLst>
          </p:cNvPr>
          <p:cNvSpPr txBox="1">
            <a:spLocks/>
          </p:cNvSpPr>
          <p:nvPr/>
        </p:nvSpPr>
        <p:spPr>
          <a:xfrm>
            <a:off x="554736" y="3765055"/>
            <a:ext cx="1411614" cy="18466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Years 1-5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3A64AE-75C5-C906-E58E-BA747696FE22}"/>
              </a:ext>
            </a:extLst>
          </p:cNvPr>
          <p:cNvSpPr txBox="1">
            <a:spLocks/>
          </p:cNvSpPr>
          <p:nvPr/>
        </p:nvSpPr>
        <p:spPr>
          <a:xfrm>
            <a:off x="229390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BC1531-3264-F1F0-2245-FA9060668977}"/>
              </a:ext>
            </a:extLst>
          </p:cNvPr>
          <p:cNvSpPr txBox="1">
            <a:spLocks/>
          </p:cNvSpPr>
          <p:nvPr/>
        </p:nvSpPr>
        <p:spPr>
          <a:xfrm>
            <a:off x="720701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3F50A8E-43D5-6E0A-680B-9F607E66446D}"/>
              </a:ext>
            </a:extLst>
          </p:cNvPr>
          <p:cNvGrpSpPr/>
          <p:nvPr/>
        </p:nvGrpSpPr>
        <p:grpSpPr>
          <a:xfrm>
            <a:off x="554736" y="5264983"/>
            <a:ext cx="11082528" cy="815608"/>
            <a:chOff x="554736" y="4356105"/>
            <a:chExt cx="11082528" cy="81560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F794F9-4411-7506-DFBC-DCA48983A396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4356105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Considerations</a:t>
              </a:r>
              <a:endParaRPr lang="en-US" sz="120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F50D582-FF66-4D1F-7912-25A2DCCF243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4356105"/>
              <a:ext cx="4430248" cy="63094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Provides certainty by guaranteeing full MWs by Year 6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Creates a potential step-change in MWs between Years 5 and 6, with limited time to develop required transmiss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D60A470-908B-1AD1-CA85-5CDC5EE1E142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4356105"/>
              <a:ext cx="4430248" cy="81560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Full MW allocation is aligned with identified transmission upgrades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Requires financial commitment for partial MWs without clear visibility on timing or certainty of full MW delivery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CFE9C8-BACA-3519-C9DB-A80919E737A9}"/>
              </a:ext>
            </a:extLst>
          </p:cNvPr>
          <p:cNvGrpSpPr/>
          <p:nvPr/>
        </p:nvGrpSpPr>
        <p:grpSpPr>
          <a:xfrm>
            <a:off x="554736" y="4607353"/>
            <a:ext cx="11082528" cy="369332"/>
            <a:chOff x="554736" y="3682344"/>
            <a:chExt cx="11082528" cy="369332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8B26822-BCFC-9048-8870-F77ED056F97E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3682344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Year 6</a:t>
              </a:r>
              <a:endParaRPr lang="en-US" sz="120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B883E4B-73F5-0D60-89DD-DA99323C76C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automatically allocated based on Batch Zero results; transmission solutions further defined in the 2027 RTP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DFE277-784D-AB4C-D63D-35AB58F70061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not committed in Batch Zero; additional MWs studied and allocated through a subsequent Batch 1 process</a:t>
              </a: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CA3C2DA-D5B9-FAA5-6239-9E0BA6350A73}"/>
              </a:ext>
            </a:extLst>
          </p:cNvPr>
          <p:cNvCxnSpPr>
            <a:cxnSpLocks/>
          </p:cNvCxnSpPr>
          <p:nvPr/>
        </p:nvCxnSpPr>
        <p:spPr>
          <a:xfrm>
            <a:off x="521663" y="4463203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26859CF-DC92-6A16-5989-3495CE76C5B9}"/>
              </a:ext>
            </a:extLst>
          </p:cNvPr>
          <p:cNvCxnSpPr>
            <a:cxnSpLocks/>
          </p:cNvCxnSpPr>
          <p:nvPr/>
        </p:nvCxnSpPr>
        <p:spPr>
          <a:xfrm>
            <a:off x="521663" y="5120834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D90676C0-5FFE-CF50-8EB7-706BED31DA7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978376"/>
              </p:ext>
            </p:extLst>
          </p:nvPr>
        </p:nvGraphicFramePr>
        <p:xfrm>
          <a:off x="2152650" y="1681163"/>
          <a:ext cx="4654550" cy="191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0E192590-C826-9281-A48B-0496BA19361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401888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D0B1D8-F507-42ED-90D5-51C42F792C91}" type="datetime'''''''Y''''''''e''''a''''''''''r'''''''' ''1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1</a:t>
            </a:fld>
            <a:endParaRPr lang="en-US" sz="1050" b="1">
              <a:cs typeface="+mn-cs"/>
            </a:endParaRP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BCBFBD4F-8F33-FAB7-D336-7A94E5C49E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51188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6A40A3-0F74-4D50-BA21-779410E4F6C8}" type="datetime'Y''e''''''''''''a''''''''''''''''''''''r'''''''''''' 2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2</a:t>
            </a:fld>
            <a:endParaRPr lang="en-US" sz="1050" b="1">
              <a:cs typeface="+mn-cs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BB10A7C-7CAD-DC29-2ADF-DDCBD13A22F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98900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A5AB1A-EE13-4726-886C-05E3262BED42}" type="datetime'''''''''''''Y''''''''''ear'''''''''''''''''' ''''3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3</a:t>
            </a:fld>
            <a:endParaRPr lang="en-US" sz="1050" b="1">
              <a:cs typeface="+mn-cs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A0199B16-768F-1F53-FBE0-3A995ADA08F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46613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B87356-69BE-4D41-BE69-3A6628C9325D}" type="datetime'Y''''''e''''''''''a''''r'''''''' ''''''''''''''''4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4</a:t>
            </a:fld>
            <a:endParaRPr lang="en-US" sz="1050" b="1">
              <a:cs typeface="+mn-cs"/>
            </a:endParaRP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61C69654-30BE-98F9-FBC4-B6323E5E11A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95913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77D9C6-348A-4722-859A-6D650CB2F1A4}" type="datetime'''Y''e''''''''''a''''''r'''''''''' ''''5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5</a:t>
            </a:fld>
            <a:endParaRPr lang="en-US" sz="1050" b="1">
              <a:cs typeface="+mn-cs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2E7F84E0-7921-D385-9F83-69DC9B8587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143625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2EA322-92D9-489D-97F8-2582C075E482}" type="datetime'''''''''''Y''e''''''''a''r'''''''' ''''''''''''''''''''''6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6</a:t>
            </a:fld>
            <a:endParaRPr lang="en-US" sz="1050" b="1"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3C333D4-2352-45CE-654D-754FE1CE65B6}"/>
              </a:ext>
            </a:extLst>
          </p:cNvPr>
          <p:cNvCxnSpPr>
            <a:cxnSpLocks/>
          </p:cNvCxnSpPr>
          <p:nvPr/>
        </p:nvCxnSpPr>
        <p:spPr>
          <a:xfrm>
            <a:off x="521663" y="3625437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91AF2E6-D912-F35D-30C8-CB7812A74B2A}"/>
              </a:ext>
            </a:extLst>
          </p:cNvPr>
          <p:cNvSpPr txBox="1">
            <a:spLocks/>
          </p:cNvSpPr>
          <p:nvPr/>
        </p:nvSpPr>
        <p:spPr>
          <a:xfrm>
            <a:off x="554736" y="1808167"/>
            <a:ext cx="141161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Illustrative ramp schedule</a:t>
            </a:r>
            <a:r>
              <a:rPr lang="en-US" sz="1200"/>
              <a:t>, MW</a:t>
            </a:r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505DD470-19E7-D184-9639-30EE77DD0EE1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065963" y="1785938"/>
          <a:ext cx="4654550" cy="180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0" name="Rectangle 49">
            <a:extLst>
              <a:ext uri="{FF2B5EF4-FFF2-40B4-BE49-F238E27FC236}">
                <a16:creationId xmlns:a16="http://schemas.microsoft.com/office/drawing/2014/main" id="{72BEE257-D924-77C6-4FF9-ED528F4DBE3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996613" y="2022475"/>
            <a:ext cx="534987" cy="534988"/>
          </a:xfrm>
          <a:prstGeom prst="rect">
            <a:avLst/>
          </a:prstGeom>
          <a:noFill/>
          <a:ln w="19050" cap="sq" cmpd="sng" algn="ctr">
            <a:solidFill>
              <a:srgbClr val="7F7F7F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D8AA3E7-B824-ECB6-B9BD-0C0FFE864D8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15200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BD0B7AE-4F46-49C1-BCD1-5A2C1049FDD0}" type="datetime'''''Ye''''''''''''''''a''''''''''''''r'''' ''''''''''''''1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1</a:t>
            </a:fld>
            <a:endParaRPr lang="en-US" sz="1050" b="1">
              <a:cs typeface="+mn-cs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39F4CBA-8372-C0B9-8163-6A177F33DFD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64500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20D04F8-1835-4954-82D7-E1849078D96E}" type="datetime'''''''Year'''''' ''''''''''''''''''2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2</a:t>
            </a:fld>
            <a:endParaRPr lang="en-US" sz="1050" b="1">
              <a:cs typeface="+mn-cs"/>
            </a:endParaRP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5C02648A-1709-A8CB-B83B-AA8177502C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812213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4782A0E-7C5F-4B57-B60F-93715ECAB0D3}" type="datetime'Y''''''''''''''''''''''e''''a''''r'''''''''''''''' ''''''3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3</a:t>
            </a:fld>
            <a:endParaRPr lang="en-US" sz="1050" b="1">
              <a:cs typeface="+mn-cs"/>
            </a:endParaRP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E453B958-3CB8-2685-25D9-C5C62147E26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559925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B74BD4-2151-43F0-B7AB-0A0325EB7BC9}" type="datetime'''''''''''''''Y''e''''''''a''''r'''''''' ''''''''4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4</a:t>
            </a:fld>
            <a:endParaRPr lang="en-US" sz="1050" b="1">
              <a:cs typeface="+mn-cs"/>
            </a:endParaRP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C8AE8913-F653-CF52-568C-2133ED28C1A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309225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69C4E7-B849-48B1-BEB2-000EFA5C9051}" type="datetime'''''''''''''''''''''Y''''''''''ea''''''r'''''''''''' 5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5</a:t>
            </a:fld>
            <a:endParaRPr lang="en-US" sz="1050" b="1">
              <a:cs typeface="+mn-cs"/>
            </a:endParaRP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62C6A019-63AE-79AD-57E2-BE0A3CE6E7D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110913" y="2209800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effectLst/>
                <a:cs typeface="+mn-cs"/>
              </a:rPr>
              <a:t>TBD</a:t>
            </a:r>
            <a:endParaRPr lang="en-US" sz="1050">
              <a:cs typeface="+mn-cs"/>
            </a:endParaRP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8E34B35F-6378-8295-0836-FA6083F23EA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056938" y="34036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8044E5-1299-4250-97BE-BECB6030F994}" type="datetime'''Ye''a''''''''r'''''''' 6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6</a:t>
            </a:fld>
            <a:endParaRPr lang="en-US" sz="1050" b="1">
              <a:cs typeface="+mn-cs"/>
            </a:endParaRPr>
          </a:p>
        </p:txBody>
      </p:sp>
      <p:sp>
        <p:nvSpPr>
          <p:cNvPr id="58" name="Speech Bubble: Rectangle 57">
            <a:extLst>
              <a:ext uri="{FF2B5EF4-FFF2-40B4-BE49-F238E27FC236}">
                <a16:creationId xmlns:a16="http://schemas.microsoft.com/office/drawing/2014/main" id="{D798607F-9EC1-FE5F-5717-9E9DBFB7F8F7}"/>
              </a:ext>
            </a:extLst>
          </p:cNvPr>
          <p:cNvSpPr/>
          <p:nvPr/>
        </p:nvSpPr>
        <p:spPr>
          <a:xfrm>
            <a:off x="4238387" y="1808167"/>
            <a:ext cx="1646714" cy="537010"/>
          </a:xfrm>
          <a:prstGeom prst="wedgeRectCallout">
            <a:avLst>
              <a:gd name="adj1" fmla="val 59465"/>
              <a:gd name="adj2" fmla="val -2550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tx1"/>
                </a:solidFill>
              </a:rPr>
              <a:t>Automatically set at requested peak Demand</a:t>
            </a:r>
          </a:p>
        </p:txBody>
      </p:sp>
      <p:sp>
        <p:nvSpPr>
          <p:cNvPr id="59" name="Speech Bubble: Rectangle 58">
            <a:extLst>
              <a:ext uri="{FF2B5EF4-FFF2-40B4-BE49-F238E27FC236}">
                <a16:creationId xmlns:a16="http://schemas.microsoft.com/office/drawing/2014/main" id="{7C420A23-CAA5-F4B1-EEA9-AEC9DD745113}"/>
              </a:ext>
            </a:extLst>
          </p:cNvPr>
          <p:cNvSpPr/>
          <p:nvPr/>
        </p:nvSpPr>
        <p:spPr>
          <a:xfrm>
            <a:off x="8949003" y="1788141"/>
            <a:ext cx="1840141" cy="498973"/>
          </a:xfrm>
          <a:prstGeom prst="wedgeRectCallout">
            <a:avLst>
              <a:gd name="adj1" fmla="val 57023"/>
              <a:gd name="adj2" fmla="val 2305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tx1"/>
                </a:solidFill>
              </a:rPr>
              <a:t>TBD:</a:t>
            </a:r>
            <a:r>
              <a:rPr lang="en-US" sz="1000">
                <a:solidFill>
                  <a:schemeClr val="tx1"/>
                </a:solidFill>
              </a:rPr>
              <a:t> additional MWs studied in next batch and allocated based on available capacit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4021E80-A31C-EE5F-3E79-33ADC555DA7E}"/>
              </a:ext>
            </a:extLst>
          </p:cNvPr>
          <p:cNvSpPr/>
          <p:nvPr/>
        </p:nvSpPr>
        <p:spPr>
          <a:xfrm>
            <a:off x="2217736" y="2375999"/>
            <a:ext cx="3768995" cy="1200749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0F5A676-21FE-DD1F-BA02-50162191521C}"/>
              </a:ext>
            </a:extLst>
          </p:cNvPr>
          <p:cNvSpPr/>
          <p:nvPr/>
        </p:nvSpPr>
        <p:spPr>
          <a:xfrm>
            <a:off x="7129776" y="2375999"/>
            <a:ext cx="3768995" cy="1200749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133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02D3BBE0-81A6-6EDD-8690-5B92B06D5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8986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3" progId="TCLayout.ActiveDocument.1">
                  <p:embed/>
                </p:oleObj>
              </mc:Choice>
              <mc:Fallback>
                <p:oleObj name="think-cell Slide" r:id="rId16" imgW="404" imgH="403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3BBE0-81A6-6EDD-8690-5B92B06D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F03B37-0277-F51B-E95A-1DA4EB24B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/>
              <a:t>New Option 3- “Bookend” allocation approach: resolving trade-off between early certainty and transmission align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8A83CE-EDD6-34E1-B817-8E8757B45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8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C34A90-4086-D5C4-E60C-EA49665C2CD1}"/>
              </a:ext>
            </a:extLst>
          </p:cNvPr>
          <p:cNvGrpSpPr/>
          <p:nvPr/>
        </p:nvGrpSpPr>
        <p:grpSpPr>
          <a:xfrm>
            <a:off x="554736" y="1104241"/>
            <a:ext cx="7438157" cy="312738"/>
            <a:chOff x="554736" y="1030552"/>
            <a:chExt cx="7438157" cy="31282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EEF5C65-A39B-9E15-DD1E-EA95D173D00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54736" y="1030552"/>
              <a:ext cx="312822" cy="312822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EC688BC-AA30-E326-D2E3-44FCCBA483FE}"/>
                </a:ext>
              </a:extLst>
            </p:cNvPr>
            <p:cNvSpPr txBox="1">
              <a:spLocks/>
            </p:cNvSpPr>
            <p:nvPr/>
          </p:nvSpPr>
          <p:spPr>
            <a:xfrm>
              <a:off x="1025166" y="1079241"/>
              <a:ext cx="696772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>
                  <a:solidFill>
                    <a:schemeClr val="bg1">
                      <a:lumMod val="50000"/>
                    </a:schemeClr>
                  </a:solidFill>
                </a:rPr>
                <a:t>Example: </a:t>
              </a: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1,000 MW data center requiring full capacity by Year 6</a:t>
              </a:r>
            </a:p>
          </p:txBody>
        </p:sp>
      </p:grp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94132CB9-02A2-0F0B-D9AE-94522D210B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935265"/>
              </p:ext>
            </p:extLst>
          </p:nvPr>
        </p:nvGraphicFramePr>
        <p:xfrm>
          <a:off x="471488" y="1595438"/>
          <a:ext cx="8085137" cy="197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3F52C85-5636-9115-9F30-04AC7E5F98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06475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9927201-7492-4EE0-99C4-7F19FA8A6DE9}" type="datetime'''Y''''''''''ea''r'''''''''''''''' ''1''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1</a:t>
            </a:fld>
            <a:endParaRPr lang="en-US" sz="1050" b="1">
              <a:cs typeface="+mn-cs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F0CE407-2867-5BAF-CAB5-36E316AE209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27275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C13064-4107-4CDB-9B4E-F815C4BCA309}" type="datetime'''Y''''e''''''''''a''''''r'''''''''''''''''' 2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2</a:t>
            </a:fld>
            <a:endParaRPr lang="en-US" sz="1050" b="1">
              <a:cs typeface="+mn-cs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557D6F8-94D9-BE2A-A2C3-74E430A9692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46488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62AEA8-9219-4C3E-B05F-45E800433322}" type="datetime'''''''''''''''''Y''ea''''''''''''''''r ''''3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3</a:t>
            </a:fld>
            <a:endParaRPr lang="en-US" sz="1050" b="1">
              <a:cs typeface="+mn-cs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576C83E-3D0F-B4CC-0A32-AE8B53B8AC0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67288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2E59E0F-D365-482F-8CEE-1FE6650621CF}" type="datetime'''Y''''e''''''a''''''''''''''''r'''' ''''''''4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4</a:t>
            </a:fld>
            <a:endParaRPr lang="en-US" sz="1050" b="1">
              <a:cs typeface="+mn-cs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00AAAAB-C7B6-7199-7A3D-22631BEA81E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286500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ACA49F-5679-463D-8DFD-B5CE5208AF27}" type="datetime'Y''''''''''''''''ea''''r'''' ''''''''''''''''5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5</a:t>
            </a:fld>
            <a:endParaRPr lang="en-US" sz="1050" b="1">
              <a:cs typeface="+mn-cs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5E63EC7-9A2C-E0E8-363A-04A62316D4D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07300" y="3378200"/>
            <a:ext cx="4143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ABB517-EDE2-4524-B16B-845BEAA2BB87}" type="datetime'''''''''''''Ye''''''''''''''''''''ar'''' 6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Year 6</a:t>
            </a:fld>
            <a:endParaRPr lang="en-US" sz="1050" b="1"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6EFF90E-8D5E-080B-1BE1-9DDDF1B67D9F}"/>
              </a:ext>
            </a:extLst>
          </p:cNvPr>
          <p:cNvGrpSpPr/>
          <p:nvPr/>
        </p:nvGrpSpPr>
        <p:grpSpPr>
          <a:xfrm>
            <a:off x="554038" y="1482725"/>
            <a:ext cx="7918704" cy="211138"/>
            <a:chOff x="1257300" y="1665156"/>
            <a:chExt cx="2802637" cy="25649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2F3A449-225F-7F5A-5F09-D1790122D435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Illustrative ramp schedule and allocation methodology by year</a:t>
              </a:r>
              <a:r>
                <a:rPr lang="en-US" sz="1200"/>
                <a:t>, MW</a:t>
              </a:r>
            </a:p>
          </p:txBody>
        </p:sp>
        <p:cxnSp>
          <p:nvCxnSpPr>
            <p:cNvPr id="16" name="LineBasicDefault 7">
              <a:extLst>
                <a:ext uri="{FF2B5EF4-FFF2-40B4-BE49-F238E27FC236}">
                  <a16:creationId xmlns:a16="http://schemas.microsoft.com/office/drawing/2014/main" id="{0D0F711C-0605-812A-030B-14C684E9E945}"/>
                </a:ext>
              </a:extLst>
            </p:cNvPr>
            <p:cNvCxnSpPr>
              <a:cxnSpLocks/>
            </p:cNvCxnSpPr>
            <p:nvPr>
              <p:custDataLst>
                <p:tags r:id="rId14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BE51B19-C154-4DEB-A40F-81ED51357076}"/>
              </a:ext>
            </a:extLst>
          </p:cNvPr>
          <p:cNvGrpSpPr/>
          <p:nvPr/>
        </p:nvGrpSpPr>
        <p:grpSpPr>
          <a:xfrm>
            <a:off x="9097401" y="1482725"/>
            <a:ext cx="2775460" cy="211138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2B84EFD-B8CF-0F58-D8EC-EFCF20A16048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Key highlights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FA98393F-E909-F5BA-74FE-0392DF218E1D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8D0AC6C-759B-2E71-4299-34CBC98F517A}"/>
              </a:ext>
            </a:extLst>
          </p:cNvPr>
          <p:cNvSpPr txBox="1">
            <a:spLocks/>
          </p:cNvSpPr>
          <p:nvPr/>
        </p:nvSpPr>
        <p:spPr>
          <a:xfrm>
            <a:off x="628409" y="3655079"/>
            <a:ext cx="1168977" cy="92333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Not studied: </a:t>
            </a:r>
            <a:r>
              <a:rPr lang="en-US" sz="1200"/>
              <a:t>based on existing system capacity (no upgrade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7F009FA-3D8D-F0E9-031F-3AEB2FAEDC3A}"/>
              </a:ext>
            </a:extLst>
          </p:cNvPr>
          <p:cNvSpPr txBox="1">
            <a:spLocks/>
          </p:cNvSpPr>
          <p:nvPr/>
        </p:nvSpPr>
        <p:spPr>
          <a:xfrm>
            <a:off x="1948781" y="3658764"/>
            <a:ext cx="1168977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Fully studied</a:t>
            </a:r>
            <a:r>
              <a:rPr lang="en-US" sz="1200"/>
              <a:t> (all case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89A4F2F-5A03-C3D7-7E7C-9DCB41E99440}"/>
              </a:ext>
            </a:extLst>
          </p:cNvPr>
          <p:cNvSpPr txBox="1">
            <a:spLocks/>
          </p:cNvSpPr>
          <p:nvPr/>
        </p:nvSpPr>
        <p:spPr>
          <a:xfrm>
            <a:off x="3269153" y="3658764"/>
            <a:ext cx="1168977" cy="73866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Not studied: </a:t>
            </a:r>
            <a:r>
              <a:rPr lang="en-US" sz="1200"/>
              <a:t>conservative assumption equal to Year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F0827D2-9C4C-916E-3366-251358D4B497}"/>
              </a:ext>
            </a:extLst>
          </p:cNvPr>
          <p:cNvSpPr txBox="1">
            <a:spLocks/>
          </p:cNvSpPr>
          <p:nvPr/>
        </p:nvSpPr>
        <p:spPr>
          <a:xfrm>
            <a:off x="4589525" y="3658764"/>
            <a:ext cx="1168977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Fully studied</a:t>
            </a:r>
            <a:r>
              <a:rPr lang="en-US" sz="1200"/>
              <a:t> (all case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CDD053-3D5A-ED26-9E5A-2627CDFBE545}"/>
              </a:ext>
            </a:extLst>
          </p:cNvPr>
          <p:cNvSpPr txBox="1">
            <a:spLocks/>
          </p:cNvSpPr>
          <p:nvPr/>
        </p:nvSpPr>
        <p:spPr>
          <a:xfrm>
            <a:off x="5909897" y="3658764"/>
            <a:ext cx="1168977" cy="73866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Not studied: </a:t>
            </a:r>
            <a:r>
              <a:rPr lang="en-US" sz="1200"/>
              <a:t>conservative assumption equal to Year 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8D27651-056E-F75B-78AA-A5BCF4EDF9EF}"/>
              </a:ext>
            </a:extLst>
          </p:cNvPr>
          <p:cNvSpPr txBox="1">
            <a:spLocks/>
          </p:cNvSpPr>
          <p:nvPr/>
        </p:nvSpPr>
        <p:spPr>
          <a:xfrm>
            <a:off x="7230269" y="3658764"/>
            <a:ext cx="1168400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Fully studied</a:t>
            </a:r>
            <a:r>
              <a:rPr lang="en-US" sz="1200"/>
              <a:t> (all cases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9987BF7-E8DC-F67A-7606-8B374FA627F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797675" y="1474788"/>
            <a:ext cx="144463" cy="144463"/>
          </a:xfrm>
          <a:prstGeom prst="rect">
            <a:avLst/>
          </a:prstGeom>
          <a:solidFill>
            <a:schemeClr val="accent1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F67FB3-8DD6-506B-5BAE-8FDD8638D98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548563" y="1474788"/>
            <a:ext cx="144463" cy="144463"/>
          </a:xfrm>
          <a:prstGeom prst="rect">
            <a:avLst/>
          </a:prstGeom>
          <a:solidFill>
            <a:srgbClr val="B3B3B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735A983-D6FF-3CD0-82A3-72E5211FDBB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92938" y="1471613"/>
            <a:ext cx="4540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5EB4E74-ACE4-49CE-9061-CCE06CDE9916}" type="datetime'''''''S''''''t''''''''''''''''u''''die''''''d'''''''''">
              <a:rPr lang="en-US" altLang="en-US" sz="105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tudied</a:t>
            </a:fld>
            <a:endParaRPr lang="en-US" sz="1050">
              <a:cs typeface="+mn-cs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5B33334-3577-377A-C8BD-02BDA7B587F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743825" y="1471613"/>
            <a:ext cx="6762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5A22E2-41F6-4653-9897-E78F6A1B3A31}" type="datetime'N''''o''''''''''''''t'' ''''''''''''''''st''u''d''''ie''d'''">
              <a:rPr lang="en-US" altLang="en-US" sz="105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Not studied</a:t>
            </a:fld>
            <a:endParaRPr lang="en-US" sz="1050"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710A62-B4B5-AF9B-8B8E-14871B71EED8}"/>
              </a:ext>
            </a:extLst>
          </p:cNvPr>
          <p:cNvSpPr txBox="1">
            <a:spLocks/>
          </p:cNvSpPr>
          <p:nvPr/>
        </p:nvSpPr>
        <p:spPr>
          <a:xfrm>
            <a:off x="9097401" y="1749471"/>
            <a:ext cx="2775460" cy="504753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/>
              <a:t>Approach shifts from a fully prescriptive multi-year study to a targeted “bookend” approach to </a:t>
            </a:r>
            <a:r>
              <a:rPr lang="en-US" sz="1200" b="1"/>
              <a:t>balance feasibility and value while reducing computational burde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Objectives: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 b="1"/>
              <a:t>Preserve decision-quality outputs while making the study executable </a:t>
            </a:r>
            <a:r>
              <a:rPr lang="en-US" sz="1200"/>
              <a:t>within a 6-month Batch Zero timeline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 b="1"/>
              <a:t>Balance customer visibility with transmission realism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rocess flow: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/>
              <a:t>Batch study produces Year 1–6 allocation trajectory and required transmission upgrades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/>
              <a:t>Customers use outputs to assess viability and commit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/>
              <a:t>Refinement removes non-committed load and refines projects and costs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200"/>
              <a:t>Output is a coherent, actionable transmission plan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ED93D941-97CA-C558-24A6-E5FA74FFD10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71081" y="4906326"/>
            <a:ext cx="458002" cy="45800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DF0F6BA-1E67-5C7C-6D39-FA5CE364FA9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15682" y="4906326"/>
            <a:ext cx="458002" cy="45800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6A654D79-F694-47A6-67E2-05C0858EA055}"/>
              </a:ext>
            </a:extLst>
          </p:cNvPr>
          <p:cNvSpPr txBox="1">
            <a:spLocks/>
          </p:cNvSpPr>
          <p:nvPr/>
        </p:nvSpPr>
        <p:spPr>
          <a:xfrm>
            <a:off x="1130704" y="4906326"/>
            <a:ext cx="3287183" cy="152349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Enable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Early TSP involvement at study kickoff</a:t>
            </a:r>
            <a:r>
              <a:rPr lang="en-US" sz="1200"/>
              <a:t>, with a shared Year 6 system cas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arallel development of transmission solutions </a:t>
            </a:r>
            <a:r>
              <a:rPr lang="en-US" sz="1200"/>
              <a:t>and cost estimat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Centralized ERCOT coordination</a:t>
            </a:r>
            <a:r>
              <a:rPr lang="en-US" sz="1200"/>
              <a:t>, consolidating TSP inputs into a single pla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F2ADD66-1F3F-A898-75AA-B0F021667F7E}"/>
              </a:ext>
            </a:extLst>
          </p:cNvPr>
          <p:cNvSpPr txBox="1">
            <a:spLocks/>
          </p:cNvSpPr>
          <p:nvPr/>
        </p:nvSpPr>
        <p:spPr>
          <a:xfrm>
            <a:off x="5187951" y="4906326"/>
            <a:ext cx="3227388" cy="152349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Advanta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Delivers an actionable 6-year transmission plan within Batch Zero timeline</a:t>
            </a:r>
            <a:r>
              <a:rPr lang="en-US" sz="1200"/>
              <a:t>, avoiding reliance on future cycles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rovides full Year 1–6 visibility </a:t>
            </a:r>
            <a:r>
              <a:rPr lang="en-US" sz="1200"/>
              <a:t>for customer decisio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Reduces complexity and rework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54A75FD-2A29-3BD8-4DD5-52B4F0C1C55E}"/>
              </a:ext>
            </a:extLst>
          </p:cNvPr>
          <p:cNvSpPr/>
          <p:nvPr/>
        </p:nvSpPr>
        <p:spPr>
          <a:xfrm>
            <a:off x="554038" y="4869767"/>
            <a:ext cx="3863849" cy="158240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2E2208E-4501-B96F-726D-0FAB742CB3B1}"/>
              </a:ext>
            </a:extLst>
          </p:cNvPr>
          <p:cNvSpPr/>
          <p:nvPr/>
        </p:nvSpPr>
        <p:spPr>
          <a:xfrm>
            <a:off x="4610100" y="4869767"/>
            <a:ext cx="3863975" cy="158240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E56AA5-0517-A25E-E96F-5675B19F9A6F}"/>
              </a:ext>
            </a:extLst>
          </p:cNvPr>
          <p:cNvSpPr txBox="1"/>
          <p:nvPr/>
        </p:nvSpPr>
        <p:spPr>
          <a:xfrm>
            <a:off x="503891" y="6503934"/>
            <a:ext cx="5997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Option 3b- Add 2-3 months and “allocate-only” for Not Studied years</a:t>
            </a:r>
          </a:p>
        </p:txBody>
      </p:sp>
    </p:spTree>
    <p:extLst>
      <p:ext uri="{BB962C8B-B14F-4D97-AF65-F5344CB8AC3E}">
        <p14:creationId xmlns:p14="http://schemas.microsoft.com/office/powerpoint/2010/main" val="233629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LILLI_DECK_ID" val="439ac0ef-c625-4080-92c7-eb2b304903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hs_rG7Np30GcVt26yu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_oYLRS.5tkS6ezSrxNQ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95X74GZKytmOiXz1yEm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8bq6JgyVa41er22hb9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9zpbemhWvlMfm1Q1cZt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ziiddxPQXZUwI43yruq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2JQsXUyaz4y6dyzfKdQ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l6f.UNCMX9l4DGIcoru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sPS5f.0MHARSdROdCZU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Bhb8JClr0Bxvd8OK7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XEJZOaPnCa2bNpGhy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NF_fPN0q_afZjnr_DH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xQjYNNPiUROuhdkgq1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FSSau1W43VWLf7NQXR1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x6t4kvb8jlXi9dbpMkA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mcui8NwWPQ2L.BO4GX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xG6bvVdbmfs_fczdGy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OiFXxraO2Zqrxlstop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0xZ54KbMFqBtFShc_SY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yJNSlLA_W57.orRiO5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1y.ptfHVD7TDHrE_ra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J2hnuWGo9lqMHSm_TnI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fF9Tmjhcgd.JQr9WXt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9_ayLgI5DW7twh7FR5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__W3I6VFn0r2YBOv5R3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821fiK7CLp0ZcNy9Bbm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O6RKmDjFcgCpX9SAD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_HTJ5XYeJQAmJsjkwY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dBBbkYAfwWjcFTqisW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mOyqB1TqDllcjRofsj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kJnNjOlzXHLcvVKxt.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xDCM59aFHMsF0v5pZu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2ImxRooahgmQCFgQ8G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._bFljrzV8vsS184T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heme/theme1.xml><?xml version="1.0" encoding="utf-8"?>
<a:theme xmlns:a="http://schemas.openxmlformats.org/drawingml/2006/main" name="Cover">
  <a:themeElements>
    <a:clrScheme name="ERCOT">
      <a:dk1>
        <a:srgbClr val="000000"/>
      </a:dk1>
      <a:lt1>
        <a:srgbClr val="FFFFFF"/>
      </a:lt1>
      <a:dk2>
        <a:srgbClr val="2D3338"/>
      </a:dk2>
      <a:lt2>
        <a:srgbClr val="FFFFFF"/>
      </a:lt2>
      <a:accent1>
        <a:srgbClr val="003865"/>
      </a:accent1>
      <a:accent2>
        <a:srgbClr val="5B6770"/>
      </a:accent2>
      <a:accent3>
        <a:srgbClr val="26D07C"/>
      </a:accent3>
      <a:accent4>
        <a:srgbClr val="00829B"/>
      </a:accent4>
      <a:accent5>
        <a:srgbClr val="685BC7"/>
      </a:accent5>
      <a:accent6>
        <a:srgbClr val="890C58"/>
      </a:accent6>
      <a:hlink>
        <a:srgbClr val="3996DF"/>
      </a:hlink>
      <a:folHlink>
        <a:srgbClr val="867ED0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942DDDCD-BEC6-4902-AAD2-EB3CD2B6933E}"/>
    </a:ext>
  </a:extLst>
</a:theme>
</file>

<file path=ppt/theme/theme2.xml><?xml version="1.0" encoding="utf-8"?>
<a:theme xmlns:a="http://schemas.openxmlformats.org/drawingml/2006/main" name="Page Design">
  <a:themeElements>
    <a:clrScheme name="ERCOT colors">
      <a:dk1>
        <a:srgbClr val="171A1C"/>
      </a:dk1>
      <a:lt1>
        <a:srgbClr val="FFFFFF"/>
      </a:lt1>
      <a:dk2>
        <a:srgbClr val="4A525A"/>
      </a:dk2>
      <a:lt2>
        <a:srgbClr val="E6EBEF"/>
      </a:lt2>
      <a:accent1>
        <a:srgbClr val="005763"/>
      </a:accent1>
      <a:accent2>
        <a:srgbClr val="3DBED1"/>
      </a:accent2>
      <a:accent3>
        <a:srgbClr val="003865"/>
      </a:accent3>
      <a:accent4>
        <a:srgbClr val="0063B4"/>
      </a:accent4>
      <a:accent5>
        <a:srgbClr val="26D07C"/>
      </a:accent5>
      <a:accent6>
        <a:srgbClr val="867ED0"/>
      </a:accent6>
      <a:hlink>
        <a:srgbClr val="00AEC7"/>
      </a:hlink>
      <a:folHlink>
        <a:srgbClr val="685BC7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E771427F-03EA-4C50-B0D4-53899F39E54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5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  <wetp:taskpane dockstate="right" visibility="0" width="350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2,&quot;link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,&quot;linkText&quot;:&quot;Learn more.&quot;,&quot;longDescription&quot;:&quot;Start times are delayed due to a technical issue that is now resolved. While we work to restore normal services levels, please contact the Service Desk if you have a client-critical request.&quot;,&quot;shortDescription&quot;:&quot;A recent Microsoft Office update may cause SlideRequest to disappear from your toolbar. Restore from File&gt;Account&gt;Get Add-ins. &quot;,&quot;showOnAddin&quot;:1,&quot;source&quot;:&quot;web-addin&quot;,&quot;updatedAt&quot;:{},&quot;webAddinAnnouncementText&quot;:{&quot;body&quot;:&quot;A recent Microsoft Office update may cause SlideRequest to disappear from your toolbar. Restore from File&gt;Account&gt;Get Add-ins. &quot;,&quot;heading&quot;:&quot;Alert!&quot;,&quot;primaryAction&quot;:{&quot;label&quot;:&quot;Learn more.&quot;,&quot;url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},&quot;secondaryAction&quot;:{&quot;label&quot;:&quot;&quot;,&quot;url&quot;:&quot;&quot;},&quot;style&quot;:&quot;warning&quot;}},&quot;chargeCodeRegistered&quot;:false,&quot;coreServicesLimit&quot;:15,&quot;critical&quot;:0,&quot;description&quot;:&quot;&quot;,&quot;eligibleForPlus&quot;:true,&quot;enableFPS&quot;:&quot;true&quot;,&quot;featureFlag&quot;:{&quot;overnightDeliveryEnabled&quot;:false},&quot;formType&quot;:&quot;&quot;,&quot;inScope&quot;:true,&quot;isBoxDisabled&quot;:false,&quot;isCTEEnabled&quot;:false,&quot;lane&quot;:&quot;NA&quot;,&quot;maxStartTime&quot;:480,&quot;message&quot;:&quot;&quot;,&quot;outSourced&quot;:true,&quot;platform&quot;:&quot;GW&quot;,&quot;showInternal&quot;:false,&quot;userRegistered&quot;:false,&quot;chargeCode&quot;:&quot;valid&quot;,&quot;projectType&quot;:&quot;Client&quot;,&quot;subLane&quot;:&quot;&quot;,&quot;code&quot;:&quot;1490ML01&quot;,&quot;updatedAt&quot;:&quot;2026-03-04T02:28:54.228Z&quot;}}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75A51601-F242-4854-BF47-81947947F4BA}">
  <we:reference id="7888317b-a425-4590-9747-4c188fd7be2e" version="2.40.2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88E84E-FE87-43F7-BCE6-5A46C17D6D9B}">
  <ds:schemaRefs>
    <ds:schemaRef ds:uri="5d88064f-a5ba-4945-b47f-a45925bb9d75"/>
    <ds:schemaRef ds:uri="6af84a98-c70f-4550-a8f9-8cea152074b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37ac4fa-902d-4f29-bbdc-3877ea87d1ce"/>
    <ds:schemaRef ds:uri="f419a087-1e80-495d-85c4-486fa6b09cae"/>
  </ds:schemaRefs>
</ds:datastoreItem>
</file>

<file path=customXml/itemProps2.xml><?xml version="1.0" encoding="utf-8"?>
<ds:datastoreItem xmlns:ds="http://schemas.openxmlformats.org/officeDocument/2006/customXml" ds:itemID="{8535D41E-6C07-4D74-9B7E-3155856FB1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9a087-1e80-495d-85c4-486fa6b09cae"/>
    <ds:schemaRef ds:uri="c37ac4fa-902d-4f29-bbdc-3877ea87d1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131D89-EB5F-45FE-8031-A736CA7001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525</TotalTime>
  <Words>1513</Words>
  <Application>Microsoft Office PowerPoint</Application>
  <PresentationFormat>Widescreen</PresentationFormat>
  <Paragraphs>221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Wingdings</vt:lpstr>
      <vt:lpstr>Segoe UI</vt:lpstr>
      <vt:lpstr>Georgia</vt:lpstr>
      <vt:lpstr>Arial</vt:lpstr>
      <vt:lpstr>Aptos</vt:lpstr>
      <vt:lpstr>Courier New</vt:lpstr>
      <vt:lpstr>Cover</vt:lpstr>
      <vt:lpstr>Page Design</vt:lpstr>
      <vt:lpstr>think-cell Slide</vt:lpstr>
      <vt:lpstr>PowerPoint Presentation</vt:lpstr>
      <vt:lpstr>Agenda from Special ROS Yesterday (link to 70+ slides)</vt:lpstr>
      <vt:lpstr>Batch Zero Revision Request Timeline</vt:lpstr>
      <vt:lpstr>Reminder of Scope and Priorities for Batch Zero</vt:lpstr>
      <vt:lpstr>Main areas of focus</vt:lpstr>
      <vt:lpstr>Year 6 allocation design choice: recap</vt:lpstr>
      <vt:lpstr>Existing approaches to Year 6 allocation present clear trade-offs between certainty and realism</vt:lpstr>
      <vt:lpstr>New Option 3- “Bookend” allocation approach: resolving trade-off between early certainty and transmission align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az Lalani</dc:creator>
  <cp:keywords/>
  <dc:description/>
  <cp:lastModifiedBy>Mereness, Matt</cp:lastModifiedBy>
  <cp:revision>12</cp:revision>
  <dcterms:created xsi:type="dcterms:W3CDTF">2026-03-23T21:54:52Z</dcterms:created>
  <dcterms:modified xsi:type="dcterms:W3CDTF">2026-04-24T13:48:0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6-03-23T21:55:01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9a8f361d-ae61-4c85-8566-2a8546d9598b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MediaServiceImageTags">
    <vt:lpwstr/>
  </property>
  <property fmtid="{D5CDD505-2E9C-101B-9397-08002B2CF9AE}" pid="11" name="MSIP_Label_7084cbda-52b8-46fb-a7b7-cb5bd465ed85_Enabled">
    <vt:lpwstr>true</vt:lpwstr>
  </property>
  <property fmtid="{D5CDD505-2E9C-101B-9397-08002B2CF9AE}" pid="12" name="MSIP_Label_7084cbda-52b8-46fb-a7b7-cb5bd465ed85_SetDate">
    <vt:lpwstr>2026-03-23T22:29:58Z</vt:lpwstr>
  </property>
  <property fmtid="{D5CDD505-2E9C-101B-9397-08002B2CF9AE}" pid="13" name="MSIP_Label_7084cbda-52b8-46fb-a7b7-cb5bd465ed85_Method">
    <vt:lpwstr>Standard</vt:lpwstr>
  </property>
  <property fmtid="{D5CDD505-2E9C-101B-9397-08002B2CF9AE}" pid="14" name="MSIP_Label_7084cbda-52b8-46fb-a7b7-cb5bd465ed85_Name">
    <vt:lpwstr>Internal</vt:lpwstr>
  </property>
  <property fmtid="{D5CDD505-2E9C-101B-9397-08002B2CF9AE}" pid="15" name="MSIP_Label_7084cbda-52b8-46fb-a7b7-cb5bd465ed85_SiteId">
    <vt:lpwstr>0afb747d-bff7-4596-a9fc-950ef9e0ec45</vt:lpwstr>
  </property>
  <property fmtid="{D5CDD505-2E9C-101B-9397-08002B2CF9AE}" pid="16" name="MSIP_Label_7084cbda-52b8-46fb-a7b7-cb5bd465ed85_ActionId">
    <vt:lpwstr>508ae287-7fd8-4e1f-aa98-6eff3bb679d0</vt:lpwstr>
  </property>
  <property fmtid="{D5CDD505-2E9C-101B-9397-08002B2CF9AE}" pid="17" name="MSIP_Label_7084cbda-52b8-46fb-a7b7-cb5bd465ed85_ContentBits">
    <vt:lpwstr>0</vt:lpwstr>
  </property>
  <property fmtid="{D5CDD505-2E9C-101B-9397-08002B2CF9AE}" pid="18" name="MSIP_Label_7084cbda-52b8-46fb-a7b7-cb5bd465ed85_Tag">
    <vt:lpwstr>10, 3, 0, 2</vt:lpwstr>
  </property>
  <property fmtid="{D5CDD505-2E9C-101B-9397-08002B2CF9AE}" pid="19" name="ContentTypeId">
    <vt:lpwstr>0x0101003CD0E9D229717A45A0F014C745A02018</vt:lpwstr>
  </property>
  <property fmtid="{D5CDD505-2E9C-101B-9397-08002B2CF9AE}" pid="20" name="_dlc_DocIdItemGuid">
    <vt:lpwstr>436f427f-2b45-40e3-a851-58c31b032a3f</vt:lpwstr>
  </property>
</Properties>
</file>